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2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3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4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5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6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7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8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slideLayouts/slideLayout188.xml" ContentType="application/vnd.openxmlformats-officedocument.presentationml.slideLayout+xml"/>
  <Override PartName="/ppt/theme/theme21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2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3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4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5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6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7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28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29.xml" ContentType="application/vnd.openxmlformats-officedocument.theme+xml"/>
  <Override PartName="/ppt/slideLayouts/slideLayout270.xml" ContentType="application/vnd.openxmlformats-officedocument.presentationml.slideLayout+xml"/>
  <Override PartName="/ppt/theme/theme30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1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32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33.xml" ContentType="application/vnd.openxmlformats-officedocument.theme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34.xml" ContentType="application/vnd.openxmlformats-officedocument.theme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35.xml" ContentType="application/vnd.openxmlformats-officedocument.theme+xml"/>
  <Override PartName="/ppt/slideLayouts/slideLayout317.xml" ContentType="application/vnd.openxmlformats-officedocument.presentationml.slideLayout+xml"/>
  <Override PartName="/ppt/theme/theme36.xml" ContentType="application/vnd.openxmlformats-officedocument.theme+xml"/>
  <Override PartName="/ppt/slideLayouts/slideLayout318.xml" ContentType="application/vnd.openxmlformats-officedocument.presentationml.slideLayout+xml"/>
  <Override PartName="/ppt/theme/theme37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38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39.xml" ContentType="application/vnd.openxmlformats-officedocument.theme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40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41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theme/theme42.xml" ContentType="application/vnd.openxmlformats-officedocument.theme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4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44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45.xml" ContentType="application/vnd.openxmlformats-officedocument.theme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4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theme/theme47.xml" ContentType="application/vnd.openxmlformats-officedocument.theme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48.xml" ContentType="application/vnd.openxmlformats-officedocument.theme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49.xml" ContentType="application/vnd.openxmlformats-officedocument.theme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heme/theme5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51.xml" ContentType="application/vnd.openxmlformats-officedocument.theme+xml"/>
  <Override PartName="/ppt/tags/tag33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theme/theme52.xml" ContentType="application/vnd.openxmlformats-officedocument.theme+xml"/>
  <Override PartName="/ppt/tags/tag34.xml" ContentType="application/vnd.openxmlformats-officedocument.presentationml.tags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53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54.xml" ContentType="application/vnd.openxmlformats-officedocument.theme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55.xml" ContentType="application/vnd.openxmlformats-officedocument.theme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theme/theme56.xml" ContentType="application/vnd.openxmlformats-officedocument.theme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57.xml" ContentType="application/vnd.openxmlformats-officedocument.theme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theme/theme58.xml" ContentType="application/vnd.openxmlformats-officedocument.theme+xml"/>
  <Override PartName="/ppt/theme/theme59.xml" ContentType="application/vnd.openxmlformats-officedocument.theme+xml"/>
  <Override PartName="/ppt/theme/theme6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10" r:id="rId2"/>
    <p:sldMasterId id="2147483684" r:id="rId3"/>
    <p:sldMasterId id="2147483735" r:id="rId4"/>
    <p:sldMasterId id="2147483748" r:id="rId5"/>
    <p:sldMasterId id="2147483761" r:id="rId6"/>
    <p:sldMasterId id="2147483774" r:id="rId7"/>
    <p:sldMasterId id="2147483787" r:id="rId8"/>
    <p:sldMasterId id="2147483813" r:id="rId9"/>
    <p:sldMasterId id="2147483956" r:id="rId10"/>
    <p:sldMasterId id="2147484020" r:id="rId11"/>
    <p:sldMasterId id="2147484038" r:id="rId12"/>
    <p:sldMasterId id="2147484081" r:id="rId13"/>
    <p:sldMasterId id="2147484111" r:id="rId14"/>
    <p:sldMasterId id="2147484144" r:id="rId15"/>
    <p:sldMasterId id="2147484156" r:id="rId16"/>
    <p:sldMasterId id="2147484231" r:id="rId17"/>
    <p:sldMasterId id="2147484262" r:id="rId18"/>
    <p:sldMasterId id="2147484362" r:id="rId19"/>
    <p:sldMasterId id="2147484380" r:id="rId20"/>
    <p:sldMasterId id="2147484482" r:id="rId21"/>
    <p:sldMasterId id="2147484561" r:id="rId22"/>
    <p:sldMasterId id="2147484620" r:id="rId23"/>
    <p:sldMasterId id="2147484644" r:id="rId24"/>
    <p:sldMasterId id="2147485096" r:id="rId25"/>
    <p:sldMasterId id="2147485135" r:id="rId26"/>
    <p:sldMasterId id="2147485159" r:id="rId27"/>
    <p:sldMasterId id="2147485200" r:id="rId28"/>
    <p:sldMasterId id="2147485289" r:id="rId29"/>
    <p:sldMasterId id="2147485317" r:id="rId30"/>
    <p:sldMasterId id="2147485358" r:id="rId31"/>
    <p:sldMasterId id="2147485369" r:id="rId32"/>
    <p:sldMasterId id="2147485407" r:id="rId33"/>
    <p:sldMasterId id="2147485414" r:id="rId34"/>
    <p:sldMasterId id="2147485426" r:id="rId35"/>
    <p:sldMasterId id="2147485488" r:id="rId36"/>
    <p:sldMasterId id="2147485518" r:id="rId37"/>
    <p:sldMasterId id="2147485552" r:id="rId38"/>
    <p:sldMasterId id="2147485590" r:id="rId39"/>
    <p:sldMasterId id="2147485607" r:id="rId40"/>
    <p:sldMasterId id="2147485672" r:id="rId41"/>
    <p:sldMasterId id="2147485681" r:id="rId42"/>
    <p:sldMasterId id="2147485693" r:id="rId43"/>
    <p:sldMasterId id="2147485724" r:id="rId44"/>
    <p:sldMasterId id="2147485763" r:id="rId45"/>
    <p:sldMasterId id="2147485775" r:id="rId46"/>
    <p:sldMasterId id="2147485829" r:id="rId47"/>
    <p:sldMasterId id="2147485856" r:id="rId48"/>
    <p:sldMasterId id="2147485884" r:id="rId49"/>
    <p:sldMasterId id="2147485925" r:id="rId50"/>
    <p:sldMasterId id="2147485929" r:id="rId51"/>
    <p:sldMasterId id="2147485935" r:id="rId52"/>
    <p:sldMasterId id="2147485941" r:id="rId53"/>
    <p:sldMasterId id="2147485953" r:id="rId54"/>
    <p:sldMasterId id="2147485965" r:id="rId55"/>
    <p:sldMasterId id="2147485978" r:id="rId56"/>
    <p:sldMasterId id="2147486004" r:id="rId57"/>
    <p:sldMasterId id="2147486011" r:id="rId58"/>
  </p:sldMasterIdLst>
  <p:notesMasterIdLst>
    <p:notesMasterId r:id="rId73"/>
  </p:notesMasterIdLst>
  <p:handoutMasterIdLst>
    <p:handoutMasterId r:id="rId74"/>
  </p:handoutMasterIdLst>
  <p:sldIdLst>
    <p:sldId id="480" r:id="rId59"/>
    <p:sldId id="3510" r:id="rId60"/>
    <p:sldId id="855" r:id="rId61"/>
    <p:sldId id="2447" r:id="rId62"/>
    <p:sldId id="856" r:id="rId63"/>
    <p:sldId id="3511" r:id="rId64"/>
    <p:sldId id="3399" r:id="rId65"/>
    <p:sldId id="3344" r:id="rId66"/>
    <p:sldId id="3513" r:id="rId67"/>
    <p:sldId id="3514" r:id="rId68"/>
    <p:sldId id="3512" r:id="rId69"/>
    <p:sldId id="3348" r:id="rId70"/>
    <p:sldId id="2760" r:id="rId71"/>
    <p:sldId id="934" r:id="rId72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EC62486-F673-4DA2-8D33-73960EB81263}">
          <p14:sldIdLst>
            <p14:sldId id="480"/>
            <p14:sldId id="3510"/>
            <p14:sldId id="855"/>
            <p14:sldId id="2447"/>
            <p14:sldId id="856"/>
            <p14:sldId id="3511"/>
            <p14:sldId id="3399"/>
            <p14:sldId id="3344"/>
            <p14:sldId id="3513"/>
            <p14:sldId id="3514"/>
            <p14:sldId id="3512"/>
            <p14:sldId id="3348"/>
            <p14:sldId id="2760"/>
            <p14:sldId id="934"/>
          </p14:sldIdLst>
        </p14:section>
        <p14:section name="Default Section" id="{9C472F02-0501-4BF4-B8B3-18599FF66F8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5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Brown" initials="" lastIdx="1" clrIdx="0"/>
  <p:cmAuthor id="1" name="MJenny" initials="" lastIdx="1" clrIdx="1"/>
  <p:cmAuthor id="2" name="Andy Cebula" initials="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0000"/>
    <a:srgbClr val="006600"/>
    <a:srgbClr val="FF7C80"/>
    <a:srgbClr val="FFFF99"/>
    <a:srgbClr val="99FF33"/>
    <a:srgbClr val="FF99FF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115" autoAdjust="0"/>
    <p:restoredTop sz="45554" autoAdjust="0"/>
  </p:normalViewPr>
  <p:slideViewPr>
    <p:cSldViewPr>
      <p:cViewPr varScale="1">
        <p:scale>
          <a:sx n="68" d="100"/>
          <a:sy n="68" d="100"/>
        </p:scale>
        <p:origin x="1028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5163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90" d="100"/>
          <a:sy n="90" d="100"/>
        </p:scale>
        <p:origin x="-1728" y="318"/>
      </p:cViewPr>
      <p:guideLst>
        <p:guide orient="horz" pos="3025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63" Type="http://schemas.openxmlformats.org/officeDocument/2006/relationships/slide" Target="slides/slide5.xml"/><Relationship Id="rId68" Type="http://schemas.openxmlformats.org/officeDocument/2006/relationships/slide" Target="slides/slide10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66" Type="http://schemas.openxmlformats.org/officeDocument/2006/relationships/slide" Target="slides/slide8.xml"/><Relationship Id="rId74" Type="http://schemas.openxmlformats.org/officeDocument/2006/relationships/handoutMaster" Target="handoutMasters/handout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" Target="slides/slide2.xml"/><Relationship Id="rId65" Type="http://schemas.openxmlformats.org/officeDocument/2006/relationships/slide" Target="slides/slide7.xml"/><Relationship Id="rId73" Type="http://schemas.openxmlformats.org/officeDocument/2006/relationships/notesMaster" Target="notesMasters/notesMaster1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" Target="slides/slide6.xml"/><Relationship Id="rId69" Type="http://schemas.openxmlformats.org/officeDocument/2006/relationships/slide" Target="slides/slide11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4.xml"/><Relationship Id="rId80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1.xml"/><Relationship Id="rId67" Type="http://schemas.openxmlformats.org/officeDocument/2006/relationships/slide" Target="slides/slide9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4.xml"/><Relationship Id="rId70" Type="http://schemas.openxmlformats.org/officeDocument/2006/relationships/slide" Target="slides/slide12.xml"/><Relationship Id="rId75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4894652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169698" cy="48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21" tIns="48409" rIns="96821" bIns="48409" numCol="1" anchor="t" anchorCtr="0" compatLnSpc="1">
            <a:prstTxWarp prst="textNoShape">
              <a:avLst/>
            </a:prstTxWarp>
          </a:bodyPr>
          <a:lstStyle>
            <a:lvl1pPr defTabSz="939646">
              <a:defRPr sz="14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143832" y="0"/>
            <a:ext cx="3169698" cy="48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21" tIns="48409" rIns="96821" bIns="48409" numCol="1" anchor="t" anchorCtr="0" compatLnSpc="1">
            <a:prstTxWarp prst="textNoShape">
              <a:avLst/>
            </a:prstTxWarp>
          </a:bodyPr>
          <a:lstStyle>
            <a:lvl1pPr algn="r" defTabSz="939646">
              <a:defRPr sz="1400">
                <a:latin typeface="Calibri" pitchFamily="34" charset="0"/>
              </a:defRPr>
            </a:lvl1pPr>
          </a:lstStyle>
          <a:p>
            <a:pPr>
              <a:defRPr/>
            </a:pPr>
            <a:fld id="{0FAFADCA-FD98-4A17-A331-786850B84B35}" type="datetimeFigureOut">
              <a:rPr lang="en-US"/>
              <a:pPr>
                <a:defRPr/>
              </a:pPr>
              <a:t>7/2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3900"/>
            <a:ext cx="4799012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2" rIns="98488" bIns="4924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33526" y="4561318"/>
            <a:ext cx="5848150" cy="431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21" tIns="48409" rIns="96821" bIns="484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119325"/>
            <a:ext cx="3169698" cy="48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21" tIns="48409" rIns="96821" bIns="48409" numCol="1" anchor="b" anchorCtr="0" compatLnSpc="1">
            <a:prstTxWarp prst="textNoShape">
              <a:avLst/>
            </a:prstTxWarp>
          </a:bodyPr>
          <a:lstStyle>
            <a:lvl1pPr defTabSz="939646">
              <a:defRPr sz="14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143832" y="9119325"/>
            <a:ext cx="3169698" cy="48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821" tIns="48409" rIns="96821" bIns="48409" numCol="1" anchor="b" anchorCtr="0" compatLnSpc="1">
            <a:prstTxWarp prst="textNoShape">
              <a:avLst/>
            </a:prstTxWarp>
          </a:bodyPr>
          <a:lstStyle>
            <a:lvl1pPr algn="r" defTabSz="939646">
              <a:defRPr sz="1400">
                <a:latin typeface="Calibri" pitchFamily="34" charset="0"/>
              </a:defRPr>
            </a:lvl1pPr>
          </a:lstStyle>
          <a:p>
            <a:pPr>
              <a:defRPr/>
            </a:pPr>
            <a:fld id="{A97D8588-3D50-46CA-936D-2A07301417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69491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256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256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487262D5-E6D3-409F-A960-9E88887C4DB9}" type="slidenum">
              <a:rPr lang="en-US" smtClean="0"/>
              <a:pPr defTabSz="938822"/>
              <a:t>1</a:t>
            </a:fld>
            <a:endParaRPr lang="en-US" dirty="0"/>
          </a:p>
        </p:txBody>
      </p:sp>
      <p:sp>
        <p:nvSpPr>
          <p:cNvPr id="322564" name="Header Placeholder 4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9949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180" fontAlgn="auto">
              <a:spcBef>
                <a:spcPts val="0"/>
              </a:spcBef>
              <a:spcAft>
                <a:spcPts val="0"/>
              </a:spcAft>
              <a:defRPr/>
            </a:pPr>
            <a:fld id="{92ED03D4-0D60-495C-985E-4CF3AFF33794}" type="slidenum">
              <a:rPr lang="en-US" sz="1800" kern="0">
                <a:solidFill>
                  <a:prstClr val="black"/>
                </a:solidFill>
              </a:rPr>
              <a:pPr defTabSz="914180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n-US" sz="1800" kern="0" dirty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41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7208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7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8707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  <p:sp>
        <p:nvSpPr>
          <p:cNvPr id="328708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DDDD8B45-B7F0-491A-8E3D-E8612E95E87C}" type="slidenum">
              <a:rPr lang="en-US" smtClean="0"/>
              <a:pPr defTabSz="938822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093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33488" y="715963"/>
            <a:ext cx="4751387" cy="35639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225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5225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8170" fontAlgn="auto">
              <a:spcBef>
                <a:spcPts val="0"/>
              </a:spcBef>
              <a:spcAft>
                <a:spcPts val="0"/>
              </a:spcAft>
              <a:defRPr/>
            </a:pPr>
            <a:fld id="{47DD41F7-9E2B-4D0D-8DA1-05E64C1E7B60}" type="slidenum">
              <a:rPr lang="en-US" sz="1900" kern="0">
                <a:solidFill>
                  <a:srgbClr val="000000"/>
                </a:solidFill>
              </a:rPr>
              <a:pPr defTabSz="928170" fontAlgn="auto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n-US" sz="19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412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7D8588-3D50-46CA-936D-2A07301417B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835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7D8588-3D50-46CA-936D-2A07301417B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393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461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4611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  <p:sp>
        <p:nvSpPr>
          <p:cNvPr id="324612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9E125102-7D79-4C65-9C1A-7C97864FA098}" type="slidenum">
              <a:rPr lang="en-US" smtClean="0"/>
              <a:pPr defTabSz="938822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354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665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6659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  <p:sp>
        <p:nvSpPr>
          <p:cNvPr id="326660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2D3D5DDC-00F6-46E2-9F17-300019BA7A05}" type="slidenum">
              <a:rPr lang="en-US" smtClean="0"/>
              <a:pPr defTabSz="938822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068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7D8588-3D50-46CA-936D-2A07301417B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00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7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8707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  <p:sp>
        <p:nvSpPr>
          <p:cNvPr id="328708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DDDD8B45-B7F0-491A-8E3D-E8612E95E87C}" type="slidenum">
              <a:rPr lang="en-US" smtClean="0"/>
              <a:pPr defTabSz="938822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416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258888" y="723900"/>
            <a:ext cx="4799012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87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328707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/>
          <a:p>
            <a:pPr defTabSz="938822"/>
            <a:endParaRPr lang="en-US" dirty="0"/>
          </a:p>
        </p:txBody>
      </p:sp>
      <p:sp>
        <p:nvSpPr>
          <p:cNvPr id="328708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8822"/>
            <a:fld id="{DDDD8B45-B7F0-491A-8E3D-E8612E95E87C}" type="slidenum">
              <a:rPr lang="en-US" smtClean="0"/>
              <a:pPr defTabSz="938822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0956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0FEFC-E025-4A03-9A8F-B839EA238C9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7942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180" fontAlgn="auto">
              <a:spcBef>
                <a:spcPts val="0"/>
              </a:spcBef>
              <a:spcAft>
                <a:spcPts val="0"/>
              </a:spcAft>
              <a:defRPr/>
            </a:pPr>
            <a:fld id="{92ED03D4-0D60-495C-985E-4CF3AFF33794}" type="slidenum">
              <a:rPr lang="en-US" sz="1800" kern="0">
                <a:solidFill>
                  <a:prstClr val="black"/>
                </a:solidFill>
              </a:rPr>
              <a:pPr defTabSz="914180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 sz="1800" kern="0" dirty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141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053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0FEFC-E025-4A03-9A8F-B839EA238C9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42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3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3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7" Type="http://schemas.openxmlformats.org/officeDocument/2006/relationships/image" Target="../media/image3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.bin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7" Type="http://schemas.openxmlformats.org/officeDocument/2006/relationships/image" Target="../media/image3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5.bin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7" Type="http://schemas.openxmlformats.org/officeDocument/2006/relationships/image" Target="../media/image3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6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4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5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9.xml"/><Relationship Id="rId7" Type="http://schemas.openxmlformats.org/officeDocument/2006/relationships/oleObject" Target="../embeddings/oleObject9.bin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7" Type="http://schemas.openxmlformats.org/officeDocument/2006/relationships/image" Target="../media/image3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0.bin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7" Type="http://schemas.openxmlformats.org/officeDocument/2006/relationships/image" Target="../media/image3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1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7" Type="http://schemas.openxmlformats.org/officeDocument/2006/relationships/image" Target="../media/image3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7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2.bin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4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8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48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48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8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9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9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7" Type="http://schemas.openxmlformats.org/officeDocument/2006/relationships/image" Target="../media/image42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9.jpeg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4.bin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5.bin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5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52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3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5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5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5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6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5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5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5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3" descr="RTCA-P356-Logo_t.gif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38205" y="990601"/>
            <a:ext cx="265906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/>
          <p:nvPr userDrawn="1"/>
        </p:nvSpPr>
        <p:spPr>
          <a:xfrm>
            <a:off x="0" y="457200"/>
            <a:ext cx="9144000" cy="198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6" name="Picture 6" descr="RTCA_logo_final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667002" y="5143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/>
          <p:nvPr userDrawn="1"/>
        </p:nvSpPr>
        <p:spPr>
          <a:xfrm>
            <a:off x="685800" y="457200"/>
            <a:ext cx="7772400" cy="22098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8" name="Picture 8" descr="RTCA_logo_final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819402" y="6667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>
          <a:xfrm>
            <a:off x="685800" y="2590810"/>
            <a:ext cx="7772400" cy="1470025"/>
          </a:xfrm>
        </p:spPr>
        <p:txBody>
          <a:bodyPr/>
          <a:lstStyle>
            <a:lvl1pPr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571" name="Rectangle 43"/>
          <p:cNvSpPr>
            <a:spLocks noGrp="1" noChangeArrowheads="1"/>
          </p:cNvSpPr>
          <p:nvPr>
            <p:ph type="body" idx="1"/>
          </p:nvPr>
        </p:nvSpPr>
        <p:spPr>
          <a:xfrm>
            <a:off x="1371600" y="44196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29E3E-23E5-4DF5-9485-5CF95676AB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93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7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5" y="1508127"/>
            <a:ext cx="8050213" cy="439102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/>
          <p:cNvPicPr>
            <a:picLocks noChangeAspect="1" noChangeArrowheads="1"/>
          </p:cNvPicPr>
          <p:nvPr userDrawn="1"/>
        </p:nvPicPr>
        <p:blipFill>
          <a:blip r:embed="rId2"/>
          <a:srcRect l="848" r="31892"/>
          <a:stretch>
            <a:fillRect/>
          </a:stretch>
        </p:blipFill>
        <p:spPr bwMode="auto">
          <a:xfrm>
            <a:off x="5578480" y="-1588"/>
            <a:ext cx="3565525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051"/>
          <p:cNvSpPr txBox="1">
            <a:spLocks noChangeArrowheads="1"/>
          </p:cNvSpPr>
          <p:nvPr userDrawn="1"/>
        </p:nvSpPr>
        <p:spPr bwMode="auto">
          <a:xfrm>
            <a:off x="427040" y="4497398"/>
            <a:ext cx="4822825" cy="1323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1D2F68"/>
                </a:solidFill>
              </a:rPr>
              <a:t>Presented to:</a:t>
            </a:r>
          </a:p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1D2F68"/>
                </a:solidFill>
              </a:rPr>
              <a:t>By:</a:t>
            </a:r>
            <a:br>
              <a:rPr lang="en-US" sz="1600" dirty="0">
                <a:solidFill>
                  <a:srgbClr val="1D2F68"/>
                </a:solidFill>
              </a:rPr>
            </a:br>
            <a:endParaRPr lang="en-US" sz="1600" dirty="0">
              <a:solidFill>
                <a:srgbClr val="1D2F68"/>
              </a:solidFill>
            </a:endParaRPr>
          </a:p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" name="Group 1080"/>
          <p:cNvGrpSpPr>
            <a:grpSpLocks/>
          </p:cNvGrpSpPr>
          <p:nvPr userDrawn="1"/>
        </p:nvGrpSpPr>
        <p:grpSpPr bwMode="auto">
          <a:xfrm>
            <a:off x="5873761" y="271465"/>
            <a:ext cx="2895601" cy="909637"/>
            <a:chOff x="3700" y="171"/>
            <a:chExt cx="1824" cy="573"/>
          </a:xfrm>
        </p:grpSpPr>
        <p:pic>
          <p:nvPicPr>
            <p:cNvPr id="7" name="Picture 1079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93" y="312738"/>
            <a:ext cx="4983163" cy="1395412"/>
          </a:xfrm>
        </p:spPr>
        <p:txBody>
          <a:bodyPr anchor="t"/>
          <a:lstStyle>
            <a:lvl1pPr algn="l">
              <a:defRPr sz="3600"/>
            </a:lvl1pPr>
          </a:lstStyle>
          <a:p>
            <a:pPr lvl="0"/>
            <a:r>
              <a:rPr lang="en-US" noProof="0" dirty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DB8C58F1-2C15-4382-9111-0B24628666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768799-E9EE-43A6-914A-9647934F18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6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3C2A6468-E496-4247-B56C-3789BC5C7D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71ED1A9E-E4D0-4820-8A9E-C2CC8A78D6D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0FDD0D67-F6FB-4703-AAFC-C101D315B3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644ED354-010B-40CC-95C7-DFBF77C6BE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57200" y="6353185"/>
            <a:ext cx="723900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="1" dirty="0">
                <a:solidFill>
                  <a:srgbClr val="000000"/>
                </a:solidFill>
              </a:rPr>
              <a:t>METRICS HARMONIZATION                        FEDERAL AVIATION ADMINISTRATION</a:t>
            </a:r>
          </a:p>
        </p:txBody>
      </p:sp>
      <p:cxnSp>
        <p:nvCxnSpPr>
          <p:cNvPr id="5" name="Straight Connector 9"/>
          <p:cNvCxnSpPr>
            <a:cxnSpLocks noChangeShapeType="1"/>
          </p:cNvCxnSpPr>
          <p:nvPr userDrawn="1"/>
        </p:nvCxn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9050">
            <a:solidFill>
              <a:srgbClr val="003399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9"/>
          <p:cNvCxnSpPr>
            <a:cxnSpLocks noChangeShapeType="1"/>
          </p:cNvCxnSpPr>
          <p:nvPr userDrawn="1"/>
        </p:nvCxn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9050">
            <a:solidFill>
              <a:srgbClr val="003399"/>
            </a:solidFill>
            <a:round/>
            <a:headEnd/>
            <a:tailEnd/>
          </a:ln>
        </p:spPr>
      </p:cxnSp>
    </p:spTree>
  </p:cSld>
  <p:clrMapOvr>
    <a:masterClrMapping/>
  </p:clrMapOvr>
  <p:transition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490538" y="6353185"/>
            <a:ext cx="723900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="1" dirty="0">
                <a:solidFill>
                  <a:srgbClr val="000000"/>
                </a:solidFill>
              </a:rPr>
              <a:t>METRICS HARMONIZATION                        FEDERAL AVIATION ADMINISTRATION</a:t>
            </a:r>
          </a:p>
        </p:txBody>
      </p:sp>
      <p:cxnSp>
        <p:nvCxnSpPr>
          <p:cNvPr id="4" name="Straight Connector 9"/>
          <p:cNvCxnSpPr>
            <a:cxnSpLocks noChangeShapeType="1"/>
          </p:cNvCxnSpPr>
          <p:nvPr userDrawn="1"/>
        </p:nvCxn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9050">
            <a:solidFill>
              <a:srgbClr val="003399"/>
            </a:solidFill>
            <a:round/>
            <a:headEnd/>
            <a:tailEnd/>
          </a:ln>
        </p:spPr>
      </p:cxn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08002" y="474663"/>
            <a:ext cx="8101013" cy="5321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57200" y="6353185"/>
            <a:ext cx="723900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="1" dirty="0">
                <a:solidFill>
                  <a:srgbClr val="000000"/>
                </a:solidFill>
              </a:rPr>
              <a:t>METRICS HARMONIZATION                        FEDERAL AVIATION ADMINISTRATION</a:t>
            </a:r>
          </a:p>
        </p:txBody>
      </p:sp>
      <p:cxnSp>
        <p:nvCxnSpPr>
          <p:cNvPr id="5" name="Straight Connector 9"/>
          <p:cNvCxnSpPr>
            <a:cxnSpLocks noChangeShapeType="1"/>
          </p:cNvCxnSpPr>
          <p:nvPr userDrawn="1"/>
        </p:nvCxn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9050">
            <a:solidFill>
              <a:srgbClr val="003399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4" y="474663"/>
            <a:ext cx="8061325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58807" y="1206502"/>
            <a:ext cx="8050213" cy="458946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/>
          <p:cNvPicPr>
            <a:picLocks noChangeAspect="1" noChangeArrowheads="1"/>
          </p:cNvPicPr>
          <p:nvPr userDrawn="1"/>
        </p:nvPicPr>
        <p:blipFill>
          <a:blip r:embed="rId2"/>
          <a:srcRect l="848" r="31892"/>
          <a:stretch>
            <a:fillRect/>
          </a:stretch>
        </p:blipFill>
        <p:spPr bwMode="auto">
          <a:xfrm>
            <a:off x="5578480" y="-1588"/>
            <a:ext cx="3565525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051"/>
          <p:cNvSpPr txBox="1">
            <a:spLocks noChangeArrowheads="1"/>
          </p:cNvSpPr>
          <p:nvPr userDrawn="1"/>
        </p:nvSpPr>
        <p:spPr bwMode="auto">
          <a:xfrm>
            <a:off x="427040" y="4497388"/>
            <a:ext cx="4822825" cy="10779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Presented to:</a:t>
            </a:r>
          </a:p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By:</a:t>
            </a:r>
          </a:p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Date:</a:t>
            </a:r>
          </a:p>
        </p:txBody>
      </p:sp>
      <p:grpSp>
        <p:nvGrpSpPr>
          <p:cNvPr id="6" name="Group 1080"/>
          <p:cNvGrpSpPr>
            <a:grpSpLocks/>
          </p:cNvGrpSpPr>
          <p:nvPr userDrawn="1"/>
        </p:nvGrpSpPr>
        <p:grpSpPr bwMode="auto">
          <a:xfrm>
            <a:off x="5873761" y="271465"/>
            <a:ext cx="2895601" cy="909637"/>
            <a:chOff x="3700" y="171"/>
            <a:chExt cx="1824" cy="573"/>
          </a:xfrm>
        </p:grpSpPr>
        <p:pic>
          <p:nvPicPr>
            <p:cNvPr id="7" name="Picture 1079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 dirty="0">
                  <a:solidFill>
                    <a:srgbClr val="FFFFFF"/>
                  </a:solidFill>
                  <a:cs typeface="Arial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 dirty="0">
                  <a:solidFill>
                    <a:srgbClr val="FFFFFF"/>
                  </a:solidFill>
                  <a:cs typeface="Arial" charset="0"/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2605" y="6248400"/>
            <a:ext cx="1673225" cy="457200"/>
          </a:xfrm>
        </p:spPr>
        <p:txBody>
          <a:bodyPr/>
          <a:lstStyle>
            <a:lvl1pPr>
              <a:defRPr dirty="0">
                <a:solidFill>
                  <a:srgbClr val="FFFFFF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7100" y="6248400"/>
            <a:ext cx="2895600" cy="457200"/>
          </a:xfrm>
        </p:spPr>
        <p:txBody>
          <a:bodyPr/>
          <a:lstStyle>
            <a:lvl1pPr>
              <a:defRPr dirty="0">
                <a:solidFill>
                  <a:srgbClr val="FFFFFF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575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8EAAE2-F01A-4D45-AE97-6C41B555C2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A4A4D9-CEEF-49F1-ABF7-E74C04A592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CBC782-7499-422A-BD99-FFFF70BE2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FA528-294E-474B-B9F6-051B13411E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FD21E5-43F9-4209-8490-EBE7533AB6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F8DB46-C785-4C01-B832-08C26F6688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/>
          <p:cNvPicPr>
            <a:picLocks noChangeAspect="1" noChangeArrowheads="1"/>
          </p:cNvPicPr>
          <p:nvPr userDrawn="1"/>
        </p:nvPicPr>
        <p:blipFill>
          <a:blip r:embed="rId2"/>
          <a:srcRect l="848" r="31892"/>
          <a:stretch>
            <a:fillRect/>
          </a:stretch>
        </p:blipFill>
        <p:spPr bwMode="auto">
          <a:xfrm>
            <a:off x="5578480" y="-1588"/>
            <a:ext cx="3565525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051"/>
          <p:cNvSpPr txBox="1">
            <a:spLocks noChangeArrowheads="1"/>
          </p:cNvSpPr>
          <p:nvPr userDrawn="1"/>
        </p:nvSpPr>
        <p:spPr bwMode="auto">
          <a:xfrm>
            <a:off x="427040" y="4497388"/>
            <a:ext cx="4822825" cy="10779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Presented to:</a:t>
            </a:r>
          </a:p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By:</a:t>
            </a:r>
          </a:p>
          <a:p>
            <a:pPr eaLnBrk="1" hangingPunct="1">
              <a:buFontTx/>
              <a:buNone/>
              <a:defRPr/>
            </a:pPr>
            <a:r>
              <a:rPr lang="en-US" sz="1600" dirty="0">
                <a:solidFill>
                  <a:srgbClr val="1D2F68"/>
                </a:solidFill>
                <a:cs typeface="Arial" charset="0"/>
              </a:rPr>
              <a:t>Date:</a:t>
            </a:r>
          </a:p>
        </p:txBody>
      </p:sp>
      <p:grpSp>
        <p:nvGrpSpPr>
          <p:cNvPr id="6" name="Group 1080"/>
          <p:cNvGrpSpPr>
            <a:grpSpLocks/>
          </p:cNvGrpSpPr>
          <p:nvPr userDrawn="1"/>
        </p:nvGrpSpPr>
        <p:grpSpPr bwMode="auto">
          <a:xfrm>
            <a:off x="5873761" y="271465"/>
            <a:ext cx="2895601" cy="909637"/>
            <a:chOff x="3700" y="171"/>
            <a:chExt cx="1824" cy="573"/>
          </a:xfrm>
        </p:grpSpPr>
        <p:pic>
          <p:nvPicPr>
            <p:cNvPr id="7" name="Picture 1079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 dirty="0">
                  <a:solidFill>
                    <a:srgbClr val="FFFFFF"/>
                  </a:solidFill>
                  <a:cs typeface="Arial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 dirty="0">
                  <a:solidFill>
                    <a:srgbClr val="FFFFFF"/>
                  </a:solidFill>
                  <a:cs typeface="Arial" charset="0"/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2605" y="6248400"/>
            <a:ext cx="1673225" cy="457200"/>
          </a:xfrm>
        </p:spPr>
        <p:txBody>
          <a:bodyPr/>
          <a:lstStyle>
            <a:lvl1pPr>
              <a:defRPr dirty="0">
                <a:solidFill>
                  <a:srgbClr val="FFFFFF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7100" y="6248400"/>
            <a:ext cx="2895600" cy="457200"/>
          </a:xfrm>
        </p:spPr>
        <p:txBody>
          <a:bodyPr/>
          <a:lstStyle>
            <a:lvl1pPr>
              <a:defRPr dirty="0">
                <a:solidFill>
                  <a:srgbClr val="FFFFFF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575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306D3-B974-4EEC-ABE0-01B4A58322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D348C-436C-4068-8D4E-EF3ED3D271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58339-6347-401E-8D63-25DAD385E7A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81FDB-8D90-4BE0-9487-5ACE5E9BB3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B81327-5240-4BA7-9C16-97896B19E1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295E6D-70AB-4CEB-B8E1-17C985EC93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B8EA4-2126-476D-8A81-B571989DA3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/>
          <p:nvPr userDrawn="1"/>
        </p:nvSpPr>
        <p:spPr>
          <a:xfrm>
            <a:off x="488950" y="6086485"/>
            <a:ext cx="1320800" cy="498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6"/>
          <p:cNvSpPr/>
          <p:nvPr userDrawn="1"/>
        </p:nvSpPr>
        <p:spPr>
          <a:xfrm>
            <a:off x="6811968" y="6053148"/>
            <a:ext cx="1768475" cy="498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773743" y="2246313"/>
            <a:ext cx="3195637" cy="159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600" b="1" i="0">
                <a:solidFill>
                  <a:schemeClr val="tx2">
                    <a:lumMod val="40000"/>
                    <a:lumOff val="6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D55C94-DB79-4502-8A38-93FC9E6F73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2053F9-FC45-4CE5-A4B8-8A147FE1FC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A54F48-2DC6-40A6-B8E2-8A691EED83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297A82-49B9-4B49-82ED-A0BED30D83C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88100E-F09A-440B-A28E-9983B8D0C1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48CDC-1FA9-45A4-A4A1-67709D4E12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prstClr val="black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prstClr val="black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478A9-7195-4D3B-8DAC-DFE1B57BE9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D4625C-5B4F-4AF2-AA0D-8006E9BA4F8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66297-226B-47B2-A3F4-6DF82FC557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B8CC8-B651-47C1-8D97-153EEAB24B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DCB6A-45BB-4092-82A4-1B35B3C097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B2C5-1061-4803-B8D2-44EFB49BFC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86D97F-CA23-4CA3-8C0E-D464C2E634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9FED48-3815-4604-B591-EAF45F0523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EA4A9C-B5BC-4CA0-ADFE-96C96EF84A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D7B8A5-0D21-4C42-BDAE-018C5B08E5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0EFA43-05A7-4638-913A-1A7943A156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331581-2E3F-45A5-99FF-2234B1D5F6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E1D332-5423-4C31-AB6E-95481A3216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F5F48-BA7E-440B-9089-A920CEAA7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240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228600"/>
            <a:ext cx="1943100" cy="5638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228600"/>
            <a:ext cx="5676900" cy="5638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EE7802-8F43-4F6B-8736-547EBD220D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/>
              </a:defRPr>
            </a:lvl1pPr>
          </a:lstStyle>
          <a:p>
            <a:pPr>
              <a:defRPr/>
            </a:pPr>
            <a:fld id="{C328F1D5-8751-4A67-AA16-76AA3F601C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1066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524000"/>
            <a:ext cx="38100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38100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/>
          <p:cNvPicPr>
            <a:picLocks noChangeAspect="1" noChangeArrowheads="1"/>
          </p:cNvPicPr>
          <p:nvPr userDrawn="1"/>
        </p:nvPicPr>
        <p:blipFill>
          <a:blip r:embed="rId2"/>
          <a:srcRect l="848" r="31892"/>
          <a:stretch>
            <a:fillRect/>
          </a:stretch>
        </p:blipFill>
        <p:spPr bwMode="auto">
          <a:xfrm>
            <a:off x="5578480" y="-1588"/>
            <a:ext cx="3565525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080"/>
          <p:cNvGrpSpPr>
            <a:grpSpLocks/>
          </p:cNvGrpSpPr>
          <p:nvPr userDrawn="1"/>
        </p:nvGrpSpPr>
        <p:grpSpPr bwMode="auto">
          <a:xfrm>
            <a:off x="5873761" y="271465"/>
            <a:ext cx="2895601" cy="909637"/>
            <a:chOff x="3700" y="171"/>
            <a:chExt cx="1824" cy="573"/>
          </a:xfrm>
        </p:grpSpPr>
        <p:pic>
          <p:nvPicPr>
            <p:cNvPr id="6" name="Picture 1079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  <a:ea typeface="ＭＳ Ｐゴシック" charset="-128"/>
                  <a:cs typeface="Arial" pitchFamily="34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  <a:ea typeface="ＭＳ Ｐゴシック" charset="-128"/>
                  <a:cs typeface="Arial" pitchFamily="34" charset="0"/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2605" y="6248400"/>
            <a:ext cx="1673225" cy="457200"/>
          </a:xfrm>
        </p:spPr>
        <p:txBody>
          <a:bodyPr/>
          <a:lstStyle>
            <a:lvl1pPr>
              <a:defRPr>
                <a:solidFill>
                  <a:srgbClr val="FFFFFF">
                    <a:lumMod val="75000"/>
                  </a:srgb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7100" y="6248400"/>
            <a:ext cx="2895600" cy="457200"/>
          </a:xfrm>
        </p:spPr>
        <p:txBody>
          <a:bodyPr/>
          <a:lstStyle>
            <a:lvl1pPr>
              <a:defRPr>
                <a:solidFill>
                  <a:srgbClr val="FFFFFF">
                    <a:lumMod val="75000"/>
                  </a:srgb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5750" y="6248400"/>
            <a:ext cx="1905000" cy="457200"/>
          </a:xfrm>
        </p:spPr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30F55D04-2ED9-4316-8269-EF3E93A6D2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6D84C807-5A26-495A-9CAA-731CDE218F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EC17033A-D444-43E8-AD17-BFCF302DEA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F90AA8C8-D98D-49FC-90F5-A7705F25BB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B3BF1DA6-C7CE-4DD5-B877-69F202A8B5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/>
          <p:cNvPicPr>
            <a:picLocks noChangeAspect="1" noChangeArrowheads="1"/>
          </p:cNvPicPr>
          <p:nvPr userDrawn="1"/>
        </p:nvPicPr>
        <p:blipFill>
          <a:blip r:embed="rId2"/>
          <a:srcRect l="848" r="31892"/>
          <a:stretch>
            <a:fillRect/>
          </a:stretch>
        </p:blipFill>
        <p:spPr bwMode="auto">
          <a:xfrm>
            <a:off x="5578480" y="-1588"/>
            <a:ext cx="3565525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080"/>
          <p:cNvGrpSpPr>
            <a:grpSpLocks/>
          </p:cNvGrpSpPr>
          <p:nvPr userDrawn="1"/>
        </p:nvGrpSpPr>
        <p:grpSpPr bwMode="auto">
          <a:xfrm>
            <a:off x="5873761" y="271465"/>
            <a:ext cx="2895601" cy="909637"/>
            <a:chOff x="3700" y="171"/>
            <a:chExt cx="1824" cy="573"/>
          </a:xfrm>
        </p:grpSpPr>
        <p:pic>
          <p:nvPicPr>
            <p:cNvPr id="6" name="Picture 1079"/>
            <p:cNvPicPr>
              <a:picLocks noChangeAspect="1" noChangeArrowheads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  <a:cs typeface="Arial" pitchFamily="34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  <a:cs typeface="Arial" pitchFamily="34" charset="0"/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FC20B-98E9-4699-8526-4387EC1C00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2605" y="6248400"/>
            <a:ext cx="1673225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>
                    <a:lumMod val="75000"/>
                  </a:srgbClr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71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>
                    <a:lumMod val="75000"/>
                  </a:srgbClr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5750" y="6248400"/>
            <a:ext cx="1905000" cy="457200"/>
          </a:xfrm>
        </p:spPr>
        <p:txBody>
          <a:bodyPr/>
          <a:lstStyle>
            <a:lvl1pPr fontAlgn="auto"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637BBBB-7BB7-4973-9E25-C077A80915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09593" y="6248400"/>
            <a:ext cx="1736725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314575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6887AC9-F078-471B-93DC-BF49BB3890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09593" y="6248400"/>
            <a:ext cx="1736725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14575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0F73AF7-29B2-4290-BCB8-6B7E9F9F9D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00875" y="6248400"/>
            <a:ext cx="1905000" cy="457200"/>
          </a:xfrm>
        </p:spPr>
        <p:txBody>
          <a:bodyPr/>
          <a:lstStyle>
            <a:lvl1pPr fontAlgn="auto"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41B6D68-187B-4AB5-8BF0-4EA5CB7906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09593" y="6248400"/>
            <a:ext cx="1736725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314575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rgbClr val="FFFFFF"/>
                </a:solidFill>
                <a:latin typeface="Times New Roman" pitchFamily="18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30FF3DF-787C-4024-BB28-1A8C90934C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020888" y="0"/>
            <a:ext cx="341312" cy="685800"/>
          </a:xfrm>
          <a:prstGeom prst="rect">
            <a:avLst/>
          </a:prstGeom>
          <a:solidFill>
            <a:srgbClr val="FDAA0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ts val="2500"/>
              </a:lnSpc>
              <a:spcAft>
                <a:spcPts val="1000"/>
              </a:spcAft>
              <a:buClr>
                <a:srgbClr val="FDAA03"/>
              </a:buCl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362200" y="0"/>
            <a:ext cx="6781800" cy="990600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ts val="2500"/>
              </a:lnSpc>
              <a:spcAft>
                <a:spcPts val="1000"/>
              </a:spcAft>
              <a:buClr>
                <a:srgbClr val="FDAA03"/>
              </a:buCl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2405" y="6418273"/>
            <a:ext cx="1158875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7035617" y="6596063"/>
            <a:ext cx="195598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hangingPunct="0">
              <a:defRPr/>
            </a:pPr>
            <a:r>
              <a:rPr lang="en-US" altLang="en-US" sz="600" dirty="0">
                <a:solidFill>
                  <a:srgbClr val="000000"/>
                </a:solidFill>
                <a:cs typeface="Arial" charset="0"/>
              </a:rPr>
              <a:t>© 2009 the MITRE Corporation. All rights reserved.</a:t>
            </a:r>
            <a:endParaRPr lang="en-US" altLang="en-US" sz="7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4" descr="C:\Documents and Settings\jschleit\Desktop\BOT_February\TehnologyDay\PPTTemplat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-15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3804804" y="6535747"/>
            <a:ext cx="1534394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algn="ctr" rtl="0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ts val="1200"/>
              </a:lnSpc>
              <a:spcAft>
                <a:spcPts val="0"/>
              </a:spcAft>
              <a:defRPr/>
            </a:pPr>
            <a:r>
              <a:rPr lang="en-US" sz="1000" b="0" dirty="0">
                <a:solidFill>
                  <a:srgbClr val="000000"/>
                </a:solidFill>
              </a:rPr>
              <a:t>for Internal MITRE Us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2743200"/>
            <a:ext cx="3810000" cy="1371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81000" y="4114807"/>
            <a:ext cx="3962400" cy="763587"/>
          </a:xfrm>
        </p:spPr>
        <p:txBody>
          <a:bodyPr/>
          <a:lstStyle>
            <a:lvl1pPr marL="0" indent="0">
              <a:buFont typeface="Monotype Sorts" pitchFamily="2" charset="2"/>
              <a:buNone/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371601"/>
            <a:ext cx="3657600" cy="4114800"/>
          </a:xfrm>
        </p:spPr>
        <p:txBody>
          <a:bodyPr/>
          <a:lstStyle>
            <a:lvl1pPr marL="0" indent="0">
              <a:defRPr sz="2000"/>
            </a:lvl1pPr>
            <a:lvl2pPr marL="344488" indent="-1588">
              <a:defRPr sz="1800"/>
            </a:lvl2pPr>
            <a:lvl3pPr marL="746125" indent="-1588"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1" y="1371601"/>
            <a:ext cx="3657600" cy="4114800"/>
          </a:xfrm>
        </p:spPr>
        <p:txBody>
          <a:bodyPr/>
          <a:lstStyle>
            <a:lvl1pPr marL="0" indent="0">
              <a:defRPr sz="2000"/>
            </a:lvl1pPr>
            <a:lvl2pPr marL="344488" indent="-1588"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32872-F7B2-4E2D-B39E-D51A24082C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0"/>
            <a:ext cx="731520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371610"/>
            <a:ext cx="3657600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2057400"/>
            <a:ext cx="3657600" cy="3429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371610"/>
            <a:ext cx="3657600" cy="639763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2057400"/>
            <a:ext cx="3657600" cy="3429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382000" y="6397635"/>
            <a:ext cx="533400" cy="231775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prstClr val="black"/>
                </a:solidFill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6602B535-A941-443B-8316-37D2203EED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6" y="1371600"/>
            <a:ext cx="1828799" cy="1371600"/>
          </a:xfrm>
        </p:spPr>
        <p:txBody>
          <a:bodyPr anchor="t"/>
          <a:lstStyle>
            <a:lvl1pPr algn="l"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43200" y="1371601"/>
            <a:ext cx="5486400" cy="4114800"/>
          </a:xfrm>
        </p:spPr>
        <p:txBody>
          <a:bodyPr/>
          <a:lstStyle>
            <a:lvl1pPr>
              <a:defRPr sz="32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6" y="2743201"/>
            <a:ext cx="1828799" cy="27432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382000" y="6397635"/>
            <a:ext cx="533400" cy="231775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prstClr val="black"/>
                </a:solidFill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184EF7A8-EF98-4AC0-B535-5C6325B680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114807"/>
            <a:ext cx="5486400" cy="566739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914400" y="0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4681547"/>
            <a:ext cx="5486400" cy="804863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382000" y="6397635"/>
            <a:ext cx="533400" cy="231775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prstClr val="black"/>
                </a:solidFill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D0C085E7-593A-4FC7-8184-3009E12FB4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0" y="1"/>
            <a:ext cx="9144000" cy="6856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382000" y="6397635"/>
            <a:ext cx="533400" cy="231775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prstClr val="black"/>
                </a:solidFill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D7461518-83BB-4CF4-A56E-EE7CBB10A0C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6934200" y="1981204"/>
            <a:ext cx="1495922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r>
              <a:rPr lang="en-US" sz="1200" dirty="0">
                <a:solidFill>
                  <a:srgbClr val="00B0F0"/>
                </a:solidFill>
                <a:cs typeface="Arial" charset="0"/>
              </a:rPr>
              <a:t>Modeled Baselines</a:t>
            </a:r>
          </a:p>
          <a:p>
            <a:pPr eaLnBrk="0" hangingPunct="0">
              <a:defRPr/>
            </a:pPr>
            <a:r>
              <a:rPr lang="en-US" sz="1200" dirty="0">
                <a:solidFill>
                  <a:srgbClr val="FF0000"/>
                </a:solidFill>
                <a:cs typeface="Arial" charset="0"/>
              </a:rPr>
              <a:t>Modeled Proposals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38201" y="295275"/>
            <a:ext cx="4267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265737" y="319088"/>
            <a:ext cx="3563937" cy="232727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76200" y="2776538"/>
            <a:ext cx="4400550" cy="286226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648204" y="2776538"/>
            <a:ext cx="4430713" cy="2862262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8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87313" y="6610360"/>
            <a:ext cx="493712" cy="195263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prstClr val="black"/>
                </a:solidFill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41626317-3B84-4F60-8D6F-137562F12D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05805" y="6381750"/>
            <a:ext cx="70961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600" b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D29248D-080F-47DE-8592-12956DBE8D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00200"/>
            <a:ext cx="79248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667000"/>
            <a:ext cx="79248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8FB80-B306-45F2-B6A6-0AA31D901A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936875" y="6477000"/>
            <a:ext cx="3276600" cy="381000"/>
          </a:xfrm>
        </p:spPr>
        <p:txBody>
          <a:bodyPr rtlCol="0"/>
          <a:lstStyle>
            <a:lvl1pPr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3EE03689-3835-4A58-84BB-F4850C6CD7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nding and Incr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3124200"/>
            <a:ext cx="8229600" cy="28146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60B42E50-9931-40E5-9C18-BDF3337A948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936875" y="6477000"/>
            <a:ext cx="3276600" cy="381000"/>
          </a:xfrm>
        </p:spPr>
        <p:txBody>
          <a:bodyPr rtlCol="0"/>
          <a:lstStyle>
            <a:lvl1pPr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" y="0"/>
            <a:ext cx="9180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62400"/>
            <a:ext cx="8229600" cy="990600"/>
          </a:xfrm>
        </p:spPr>
        <p:txBody>
          <a:bodyPr anchor="t">
            <a:normAutofit/>
          </a:bodyPr>
          <a:lstStyle>
            <a:lvl1pPr algn="l">
              <a:defRPr sz="3200" b="1" i="0" cap="none" baseline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953000"/>
            <a:ext cx="8229600" cy="7620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7944238C-40FD-4F27-A8AC-3FC6912703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0E7BD1D-21DC-43E3-8229-E9F91ACCDF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059B7477-0E9A-49FE-85D4-5C9D17939F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BE3A3208-AC71-42CD-B639-4F1870501F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A00740D9-B6CF-47F9-A8BB-2DFA5852140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 rot="19130466">
            <a:off x="393702" y="2105035"/>
            <a:ext cx="8367713" cy="14462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 eaLnBrk="1" hangingPunct="1">
              <a:defRPr/>
            </a:pPr>
            <a:r>
              <a:rPr lang="en-US" sz="8800" dirty="0">
                <a:solidFill>
                  <a:srgbClr val="4F81BD">
                    <a:lumMod val="20000"/>
                    <a:lumOff val="80000"/>
                  </a:srgbClr>
                </a:solidFill>
                <a:cs typeface="Arial" pitchFamily="34" charset="0"/>
              </a:rPr>
              <a:t>TEMPLATE</a:t>
            </a:r>
          </a:p>
        </p:txBody>
      </p:sp>
      <p:pic>
        <p:nvPicPr>
          <p:cNvPr id="3" name="Picture 5" descr="FAA_NG_PPT_Titl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7938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543800" y="6400800"/>
            <a:ext cx="2133600" cy="234950"/>
          </a:xfrm>
        </p:spPr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CE4A08D0-FB80-41FA-8847-D1C0AF4145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33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5F400D5-9D03-47BB-ADE5-B4B135C9A2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 and I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25908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152400" y="3962400"/>
            <a:ext cx="8839200" cy="21336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algn="ct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6553200" y="6492885"/>
            <a:ext cx="2133600" cy="365125"/>
          </a:xfrm>
        </p:spPr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06BC41E7-6714-45BE-9C4D-86A6AC0A49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buFontTx/>
              <a:buBlip>
                <a:blip r:embed="rId2"/>
              </a:buBlip>
              <a:defRPr baseline="0">
                <a:solidFill>
                  <a:srgbClr val="000000"/>
                </a:solidFill>
              </a:defRPr>
            </a:lvl1pPr>
            <a:lvl2pPr>
              <a:spcBef>
                <a:spcPts val="9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2pPr>
            <a:lvl3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3pPr>
            <a:lvl4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4pPr>
            <a:lvl5pPr>
              <a:spcBef>
                <a:spcPts val="3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AF84D-E023-4155-B933-2FDD9E39EE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84F772-93CC-4103-BDAE-74A984FE2B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42672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4384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9A48794-9E1A-41E4-AEC3-34F94EF29F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ub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B0531183-98CF-43D5-A841-3D8FFB7E99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00200"/>
            <a:ext cx="79248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667000"/>
            <a:ext cx="79248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936875" y="6477000"/>
            <a:ext cx="3276600" cy="381000"/>
          </a:xfrm>
        </p:spPr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193FEAAF-F52B-4309-9AEB-D7942A947B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nding and Incr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3124200"/>
            <a:ext cx="8229600" cy="28146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4A21CE85-E826-489A-9D63-6CD51A5A08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936875" y="6477000"/>
            <a:ext cx="3276600" cy="381000"/>
          </a:xfrm>
        </p:spPr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" y="0"/>
            <a:ext cx="9180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62400"/>
            <a:ext cx="8229600" cy="990600"/>
          </a:xfrm>
        </p:spPr>
        <p:txBody>
          <a:bodyPr anchor="t">
            <a:normAutofit/>
          </a:bodyPr>
          <a:lstStyle>
            <a:lvl1pPr algn="l">
              <a:defRPr sz="3200" b="1" i="0" cap="none" baseline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953000"/>
            <a:ext cx="8229600" cy="7620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00D7DDA5-E6E3-49A0-8432-4CE90A1BAE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58A894B9-B5C7-4146-A4C1-CA6282F8B7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F7C73F33-6376-4303-B980-BA815768EB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BB4AB0A3-2484-4ED6-AF63-0BEB1C536B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AD3ABD44-6BFB-456D-9E87-DECE8A468D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2B9BE2-8FFE-45DF-8E0E-09C6B0517E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 rot="19130466">
            <a:off x="393702" y="2105035"/>
            <a:ext cx="8367713" cy="14462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 eaLnBrk="1" hangingPunct="1">
              <a:defRPr/>
            </a:pPr>
            <a:r>
              <a:rPr lang="en-US" sz="8800" dirty="0">
                <a:solidFill>
                  <a:srgbClr val="4F81BD">
                    <a:lumMod val="20000"/>
                    <a:lumOff val="80000"/>
                  </a:srgbClr>
                </a:solidFill>
                <a:cs typeface="Arial" pitchFamily="34" charset="0"/>
              </a:rPr>
              <a:t>TEMPLATE</a:t>
            </a:r>
          </a:p>
        </p:txBody>
      </p:sp>
      <p:pic>
        <p:nvPicPr>
          <p:cNvPr id="3" name="Picture 5" descr="FAA_NG_PPT_Titl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7938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543800" y="6400800"/>
            <a:ext cx="2133600" cy="234950"/>
          </a:xfrm>
        </p:spPr>
        <p:txBody>
          <a:bodyPr rtlCol="0"/>
          <a:lstStyle>
            <a:lvl1pPr algn="ctr">
              <a:defRPr sz="1400" b="1">
                <a:solidFill>
                  <a:prstClr val="black"/>
                </a:solidFill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3648C970-9CB8-4579-BAA4-44C1F305B5F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33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0DD863B0-1778-4FAF-81D8-17938C2392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 and I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25908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152400" y="3962400"/>
            <a:ext cx="8839200" cy="21336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24387E03-72BA-410B-BFDC-6054CDA427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42672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438400" cy="365125"/>
          </a:xfrm>
        </p:spPr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F55F15FB-3F95-4E7B-B35C-A5FEAB8B259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ub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02E97DE9-D17E-46DF-8769-96C1E7F739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0977DF09-89D9-49BD-83FD-9E587DBF743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/>
          <p:nvPr userDrawn="1"/>
        </p:nvSpPr>
        <p:spPr>
          <a:xfrm>
            <a:off x="488950" y="6086485"/>
            <a:ext cx="1320800" cy="498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6"/>
          <p:cNvSpPr/>
          <p:nvPr userDrawn="1"/>
        </p:nvSpPr>
        <p:spPr>
          <a:xfrm>
            <a:off x="6811968" y="6053148"/>
            <a:ext cx="1768475" cy="498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773743" y="2246313"/>
            <a:ext cx="3195637" cy="159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>
            <a:normAutofit/>
          </a:bodyPr>
          <a:lstStyle>
            <a:lvl1pPr algn="l"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600" b="1" i="0">
                <a:solidFill>
                  <a:schemeClr val="tx2">
                    <a:lumMod val="40000"/>
                    <a:lumOff val="6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397AC6CC-0931-4AD1-9401-57AE468587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1A5EB693-6B5B-49DB-8E84-81D52DEB5E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951BEF77-D1F9-4B7B-A81C-815C5A89DC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B53CC3F7-CEDF-48F5-BB87-D4A3B58D19F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62C5FF-526B-4F1A-9818-0138A126CC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EF4954AF-FAD3-4B8A-94F6-883301403B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48CC29F5-93AD-4E40-BD3B-55BAA85F5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E57AEE8B-F2DD-4213-B553-914E6ED7B6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00200"/>
            <a:ext cx="79248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667000"/>
            <a:ext cx="79248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6858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936875" y="6477000"/>
            <a:ext cx="32766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1F9321A9-05E4-4A31-A93E-73C423013F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15270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nding and Incr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3124200"/>
            <a:ext cx="8229600" cy="28146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4D8BE9C3-BC25-45F7-A587-3F88C29BFF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936875" y="6477000"/>
            <a:ext cx="32766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27275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" y="0"/>
            <a:ext cx="9180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62400"/>
            <a:ext cx="8229600" cy="990600"/>
          </a:xfrm>
        </p:spPr>
        <p:txBody>
          <a:bodyPr anchor="t">
            <a:normAutofit/>
          </a:bodyPr>
          <a:lstStyle>
            <a:lvl1pPr algn="l">
              <a:defRPr sz="3200" b="1" i="0" cap="none" baseline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953000"/>
            <a:ext cx="8229600" cy="7620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5AC868C-69F3-49C4-8C6B-C5F3E0466B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46676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B0455885-AD6F-43D9-B3B8-C60B02DEE6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95572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3924F267-D43A-4C24-8103-C58B705CD5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6437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7D182109-A6FA-49C4-9ACB-CC4BAEC042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1984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defTabSz="457200">
              <a:defRPr/>
            </a:pPr>
            <a:fld id="{A051AACE-0686-4398-B5AB-A4A79D589B83}" type="slidenum">
              <a:rPr lang="en-US" sz="1200" b="1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Arial" pitchFamily="34" charset="0"/>
              <a:ea typeface="ＭＳ Ｐゴシック" charset="-128"/>
            </a:endParaRPr>
          </a:p>
        </p:txBody>
      </p: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7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Federal Aviation</a:t>
              </a:r>
            </a:p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Administration</a:t>
              </a:r>
            </a:p>
          </p:txBody>
        </p:sp>
      </p:grp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defTabSz="457200">
              <a:defRPr/>
            </a:pPr>
            <a:fld id="{E01FCE67-1F30-4F87-A93B-4AA69160F35D}" type="slidenum">
              <a:rPr lang="en-US" sz="1200" b="1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Arial" pitchFamily="34" charset="0"/>
              <a:ea typeface="ＭＳ Ｐゴシック" charset="-128"/>
            </a:endParaRPr>
          </a:p>
        </p:txBody>
      </p:sp>
      <p:grpSp>
        <p:nvGrpSpPr>
          <p:cNvPr id="11" name="Group 25"/>
          <p:cNvGrpSpPr>
            <a:grpSpLocks/>
          </p:cNvGrpSpPr>
          <p:nvPr userDrawn="1"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12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Federal Aviation</a:t>
              </a:r>
            </a:p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Administration</a:t>
              </a:r>
            </a:p>
          </p:txBody>
        </p:sp>
      </p:grpSp>
      <p:pic>
        <p:nvPicPr>
          <p:cNvPr id="14" name="Picture 8" descr="cover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1071"/>
          <p:cNvSpPr txBox="1">
            <a:spLocks noChangeArrowheads="1"/>
          </p:cNvSpPr>
          <p:nvPr userDrawn="1"/>
        </p:nvSpPr>
        <p:spPr bwMode="ltGray">
          <a:xfrm>
            <a:off x="6692905" y="447679"/>
            <a:ext cx="1962845" cy="563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457200">
              <a:lnSpc>
                <a:spcPct val="85000"/>
              </a:lnSpc>
              <a:defRPr/>
            </a:pPr>
            <a:r>
              <a:rPr lang="en-US" b="1" dirty="0">
                <a:solidFill>
                  <a:srgbClr val="FFFFFF"/>
                </a:solidFill>
                <a:ea typeface="ＭＳ Ｐゴシック" charset="-128"/>
                <a:cs typeface="ＭＳ Ｐゴシック" charset="-128"/>
              </a:rPr>
              <a:t>Federal Aviation</a:t>
            </a:r>
          </a:p>
          <a:p>
            <a:pPr defTabSz="457200">
              <a:lnSpc>
                <a:spcPct val="85000"/>
              </a:lnSpc>
              <a:defRPr/>
            </a:pPr>
            <a:r>
              <a:rPr lang="en-US" b="1" dirty="0">
                <a:solidFill>
                  <a:srgbClr val="FFFFFF"/>
                </a:solidFill>
                <a:ea typeface="ＭＳ Ｐゴシック" charset="-128"/>
                <a:cs typeface="ＭＳ Ｐゴシック" charset="-128"/>
              </a:rPr>
              <a:t>Administration</a:t>
            </a: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20000"/>
              </a:spcBef>
              <a:defRPr/>
            </a:pPr>
            <a:endParaRPr lang="en-US" sz="2800" b="1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7" name="Picture 23" descr="transparent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775330" y="184152"/>
            <a:ext cx="974725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706" name="Rectangle 7"/>
          <p:cNvSpPr>
            <a:spLocks noGrp="1" noChangeArrowheads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0707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19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20" name="Rectangle 1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fld id="{0B3D02C7-A60C-411E-A685-1D6539369BF5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A05A2521-B882-4E8B-9EAD-96DCE92FD8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30427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 rot="19130466">
            <a:off x="393702" y="2105035"/>
            <a:ext cx="8367713" cy="14462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 eaLnBrk="1" hangingPunct="1">
              <a:defRPr/>
            </a:pPr>
            <a:r>
              <a:rPr lang="en-US" sz="8800" dirty="0">
                <a:solidFill>
                  <a:srgbClr val="4F81BD">
                    <a:lumMod val="20000"/>
                    <a:lumOff val="80000"/>
                  </a:srgbClr>
                </a:solidFill>
                <a:cs typeface="Arial" pitchFamily="34" charset="0"/>
              </a:rPr>
              <a:t>TEMPLATE</a:t>
            </a:r>
          </a:p>
        </p:txBody>
      </p:sp>
      <p:pic>
        <p:nvPicPr>
          <p:cNvPr id="3" name="Picture 5" descr="FAA_NG_PPT_Titl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7938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543800" y="6400800"/>
            <a:ext cx="2133600" cy="234950"/>
          </a:xfrm>
        </p:spPr>
        <p:txBody>
          <a:bodyPr rtlCol="0"/>
          <a:lstStyle>
            <a:lvl1pPr algn="ctr">
              <a:defRPr sz="1400" b="1">
                <a:solidFill>
                  <a:prstClr val="black"/>
                </a:solidFill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07D9A86A-D2A6-47EF-B464-2FE9B08F15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8348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33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C7E03EDB-922A-4BF5-808F-55B0E8D9C5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8794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 and I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25908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152400" y="3962400"/>
            <a:ext cx="8839200" cy="21336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6553200" y="649288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C88CBC9-910C-4993-B676-269D54E64E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84707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42672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6553200" y="6492885"/>
            <a:ext cx="2438400" cy="365125"/>
          </a:xfrm>
        </p:spPr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14765B08-ACEB-4B0B-9295-663DFA705C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16535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ub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69F6771-1853-41CC-B260-58C4A7646C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34144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 photo_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19620"/>
            <a:ext cx="9144000" cy="4038380"/>
          </a:xfrm>
          <a:prstGeom prst="rect">
            <a:avLst/>
          </a:prstGeom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9659" y="333559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 dirty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62834" y="1775009"/>
            <a:ext cx="4951412" cy="1067092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89500" y="3123186"/>
            <a:ext cx="4822825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Presented to:</a:t>
            </a:r>
          </a:p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By:</a:t>
            </a:r>
          </a:p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356389" y="5560061"/>
            <a:ext cx="2895601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5116741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42359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316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4673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299835"/>
            <a:ext cx="7772400" cy="1362075"/>
          </a:xfrm>
        </p:spPr>
        <p:txBody>
          <a:bodyPr anchor="t"/>
          <a:lstStyle>
            <a:lvl1pPr algn="ctr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7362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19852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545" name="Picture 1081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" r="31892"/>
          <a:stretch/>
        </p:blipFill>
        <p:spPr bwMode="auto">
          <a:xfrm>
            <a:off x="5577840" y="-1832"/>
            <a:ext cx="3566160" cy="68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27040" y="4497398"/>
            <a:ext cx="4822825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Presented to:</a:t>
            </a:r>
          </a:p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By:</a:t>
            </a:r>
          </a:p>
          <a:p>
            <a:pPr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5873761" y="271463"/>
            <a:ext cx="2895601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295965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3339" y="6248400"/>
            <a:ext cx="1672032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6798" y="6248400"/>
            <a:ext cx="2895600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6504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78D3ABA1-EA94-43C0-B992-7CBCC31144F1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4168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8410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64087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39931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18743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lt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ctrTitle"/>
          </p:nvPr>
        </p:nvSpPr>
        <p:spPr bwMode="black">
          <a:xfrm>
            <a:off x="1071568" y="3622599"/>
            <a:ext cx="6975475" cy="1203406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7620720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7313" y="1955801"/>
            <a:ext cx="6791325" cy="20621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5B36CB51-BBB5-4175-8383-D178349266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18017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04644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22183"/>
            <a:ext cx="7772400" cy="384721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B3CF898D-2E71-4B9B-9139-89753E588D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19389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57314" y="1955801"/>
            <a:ext cx="3319462" cy="25514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29178" y="1955801"/>
            <a:ext cx="3319463" cy="255146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3270568E-647E-4C89-9674-7BB052AA56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822923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46740"/>
            <a:ext cx="8229600" cy="4708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0811"/>
            <a:ext cx="4040188" cy="7940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2226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380811"/>
            <a:ext cx="4041775" cy="7940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9"/>
            <a:ext cx="4041775" cy="2226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55B6AA3D-1619-4132-A3BB-FD4F1E842D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067864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right"/>
          <p:cNvSpPr>
            <a:spLocks noChangeArrowheads="1"/>
          </p:cNvSpPr>
          <p:nvPr userDrawn="1"/>
        </p:nvSpPr>
        <p:spPr bwMode="auto">
          <a:xfrm>
            <a:off x="1335093" y="6658301"/>
            <a:ext cx="2065337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9144" tIns="9144" rIns="9144" bIns="9144" anchor="b">
            <a:spAutoFit/>
          </a:bodyPr>
          <a:lstStyle>
            <a:lvl1pPr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600" b="1">
                <a:solidFill>
                  <a:srgbClr val="7F7F7F"/>
                </a:solidFill>
                <a:latin typeface="Arial" charset="0"/>
              </a:rPr>
              <a:t>Copyright © 2015 Boeing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631C4A9D-BA88-4554-9005-15ACEB98D8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202956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"/>
          <p:cNvSpPr>
            <a:spLocks noChangeArrowheads="1"/>
          </p:cNvSpPr>
          <p:nvPr userDrawn="1"/>
        </p:nvSpPr>
        <p:spPr bwMode="auto">
          <a:xfrm>
            <a:off x="1335093" y="6658301"/>
            <a:ext cx="2065337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9144" tIns="9144" rIns="9144" bIns="9144" anchor="b">
            <a:spAutoFit/>
          </a:bodyPr>
          <a:lstStyle>
            <a:lvl1pPr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600" b="1">
                <a:solidFill>
                  <a:srgbClr val="7F7F7F"/>
                </a:solidFill>
                <a:latin typeface="Arial" charset="0"/>
              </a:rPr>
              <a:t>Copyright © 2015 Boeing. All rights reserved.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2D86BCFD-81A2-4124-9D7F-C452BE3377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76803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911880"/>
            <a:ext cx="3008313" cy="52322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291464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29700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84F9009C-AFC5-4341-950B-FE4B8A661D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896981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pyright"/>
          <p:cNvSpPr>
            <a:spLocks noChangeArrowheads="1"/>
          </p:cNvSpPr>
          <p:nvPr userDrawn="1"/>
        </p:nvSpPr>
        <p:spPr bwMode="auto">
          <a:xfrm>
            <a:off x="1335093" y="6658301"/>
            <a:ext cx="2065337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9144" tIns="9144" rIns="9144" bIns="9144" anchor="b">
            <a:spAutoFit/>
          </a:bodyPr>
          <a:lstStyle>
            <a:lvl1pPr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600" b="1">
                <a:solidFill>
                  <a:srgbClr val="7F7F7F"/>
                </a:solidFill>
                <a:latin typeface="Arial" charset="0"/>
              </a:rPr>
              <a:t>Copyright © 2015 Boeing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105728"/>
            <a:ext cx="5486400" cy="2616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8"/>
            <a:ext cx="5486400" cy="5601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9700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C34CCE5B-C329-43A7-85A1-0A984E7A5C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597755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pyright"/>
          <p:cNvSpPr>
            <a:spLocks noChangeArrowheads="1"/>
          </p:cNvSpPr>
          <p:nvPr userDrawn="1"/>
        </p:nvSpPr>
        <p:spPr bwMode="auto">
          <a:xfrm>
            <a:off x="1335093" y="6658301"/>
            <a:ext cx="2065337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9144" tIns="9144" rIns="9144" bIns="9144" anchor="b">
            <a:spAutoFit/>
          </a:bodyPr>
          <a:lstStyle>
            <a:lvl1pPr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600" b="1">
                <a:solidFill>
                  <a:srgbClr val="7F7F7F"/>
                </a:solidFill>
                <a:latin typeface="Arial" charset="0"/>
              </a:rPr>
              <a:t>Copyright © 2015 Boeing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430" y="1955803"/>
            <a:ext cx="8082213" cy="1603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22097026-847E-43AA-84EE-FD233018FC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479581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pyright"/>
          <p:cNvSpPr>
            <a:spLocks noChangeArrowheads="1"/>
          </p:cNvSpPr>
          <p:nvPr userDrawn="1"/>
        </p:nvSpPr>
        <p:spPr bwMode="auto">
          <a:xfrm>
            <a:off x="1335093" y="6658301"/>
            <a:ext cx="2065337" cy="1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9144" tIns="9144" rIns="9144" bIns="9144" anchor="b">
            <a:spAutoFit/>
          </a:bodyPr>
          <a:lstStyle>
            <a:lvl1pPr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20738" eaLnBrk="0" hangingPunct="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600" b="1">
                <a:solidFill>
                  <a:srgbClr val="7F7F7F"/>
                </a:solidFill>
                <a:latin typeface="Arial" charset="0"/>
              </a:rPr>
              <a:t>Copyright © 2015 Boeing. All rights reserved.</a:t>
            </a: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65938" y="584200"/>
            <a:ext cx="1412694" cy="29749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38910" y="584200"/>
            <a:ext cx="2874633" cy="29749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 smtClean="0">
                <a:latin typeface="Calibri" pitchFamily="34" charset="0"/>
              </a:defRPr>
            </a:lvl1pPr>
          </a:lstStyle>
          <a:p>
            <a:pPr>
              <a:defRPr/>
            </a:pPr>
            <a:fld id="{E8BD74D0-2693-4B90-B875-2B3C693AE3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104411"/>
      </p:ext>
    </p:extLst>
  </p:cSld>
  <p:clrMapOvr>
    <a:masterClrMapping/>
  </p:clrMapOvr>
  <p:transition spd="med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8288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600" b="1" i="0">
                <a:solidFill>
                  <a:schemeClr val="tx2">
                    <a:lumMod val="40000"/>
                    <a:lumOff val="60000"/>
                  </a:schemeClr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89527" y="6086764"/>
            <a:ext cx="1320800" cy="498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811818" y="6052416"/>
            <a:ext cx="1768763" cy="498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738" y="2246466"/>
            <a:ext cx="3195348" cy="1597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7983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708052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890116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168969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122436"/>
            <a:ext cx="8229600" cy="6131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044861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792754" y="6126163"/>
            <a:ext cx="1746409" cy="439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55652" y="6089650"/>
            <a:ext cx="1419173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59015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6792754" y="6126163"/>
            <a:ext cx="1746409" cy="439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55652" y="6089650"/>
            <a:ext cx="1419173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90145" y="916735"/>
            <a:ext cx="1543855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ortfolio Description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80229" y="4153130"/>
            <a:ext cx="30940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Implementation Approach</a:t>
            </a:r>
          </a:p>
        </p:txBody>
      </p:sp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4637472" y="919244"/>
            <a:ext cx="1700212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lanned Capabilities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4637472" y="4931719"/>
            <a:ext cx="2819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artners/Stakeholders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380229" y="2305170"/>
            <a:ext cx="17351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Anticipated Benefi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81000" y="1433209"/>
            <a:ext cx="4191000" cy="8568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381000" y="2498457"/>
            <a:ext cx="4191000" cy="1321433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81000" y="4352864"/>
            <a:ext cx="4191000" cy="900686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81000" y="5888595"/>
            <a:ext cx="2133599" cy="703866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888595"/>
            <a:ext cx="2057400" cy="703866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682418" y="5346700"/>
            <a:ext cx="4327859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57200" y="256882"/>
            <a:ext cx="8229600" cy="61312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 flipV="1">
            <a:off x="86262" y="4144247"/>
            <a:ext cx="4485738" cy="8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2000" y="1245266"/>
            <a:ext cx="0" cy="53745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H="1" flipV="1">
            <a:off x="4572000" y="4849097"/>
            <a:ext cx="4485738" cy="8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942085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6792754" y="6126163"/>
            <a:ext cx="1746409" cy="439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55652" y="6089650"/>
            <a:ext cx="1419173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80229" y="919247"/>
            <a:ext cx="1543855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ortfolio Description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80229" y="3941446"/>
            <a:ext cx="30940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Implementation Approach</a:t>
            </a:r>
          </a:p>
        </p:txBody>
      </p:sp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4638675" y="897688"/>
            <a:ext cx="1700212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lanned Capabilities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380229" y="1971231"/>
            <a:ext cx="17351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Anticipated Benefi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81000" y="1433209"/>
            <a:ext cx="4191000" cy="8568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381000" y="2498457"/>
            <a:ext cx="4191000" cy="1321433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81000" y="4141180"/>
            <a:ext cx="4191000" cy="900686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81000" y="5907839"/>
            <a:ext cx="2133599" cy="694243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907839"/>
            <a:ext cx="2057400" cy="702397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648967" y="4160422"/>
            <a:ext cx="4327859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57200" y="256882"/>
            <a:ext cx="8229600" cy="61312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6262" y="3932563"/>
            <a:ext cx="89714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2000" y="1245266"/>
            <a:ext cx="0" cy="53745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>
            <a:spLocks noChangeArrowheads="1"/>
          </p:cNvSpPr>
          <p:nvPr userDrawn="1"/>
        </p:nvSpPr>
        <p:spPr bwMode="auto">
          <a:xfrm>
            <a:off x="4638675" y="3941446"/>
            <a:ext cx="2819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artners/Stakeholders</a:t>
            </a:r>
          </a:p>
        </p:txBody>
      </p:sp>
    </p:spTree>
    <p:extLst>
      <p:ext uri="{BB962C8B-B14F-4D97-AF65-F5344CB8AC3E}">
        <p14:creationId xmlns:p14="http://schemas.microsoft.com/office/powerpoint/2010/main" val="7170269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6792754" y="6126163"/>
            <a:ext cx="1746409" cy="439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55652" y="6089650"/>
            <a:ext cx="1419173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80229" y="1243097"/>
            <a:ext cx="1543855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ortfolio Description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80229" y="4153130"/>
            <a:ext cx="30940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Implementation Approach</a:t>
            </a:r>
          </a:p>
        </p:txBody>
      </p:sp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4624388" y="1243094"/>
            <a:ext cx="1700212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lanned Capabilities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4624388" y="4153130"/>
            <a:ext cx="2819400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artners/Stakeholders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380229" y="2305170"/>
            <a:ext cx="17351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Anticipated Benefi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81000" y="1433209"/>
            <a:ext cx="4191000" cy="8568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381000" y="2498457"/>
            <a:ext cx="4191000" cy="1321433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81000" y="4352864"/>
            <a:ext cx="4191000" cy="900686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81000" y="5449461"/>
            <a:ext cx="2133599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449461"/>
            <a:ext cx="2057400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648967" y="4372106"/>
            <a:ext cx="4327859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57200" y="256882"/>
            <a:ext cx="8229600" cy="61312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6262" y="4144247"/>
            <a:ext cx="89714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2000" y="1245266"/>
            <a:ext cx="0" cy="53745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25875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6792757" y="6126169"/>
            <a:ext cx="1746409" cy="4397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355655" y="6089656"/>
            <a:ext cx="1419173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55655" y="808164"/>
            <a:ext cx="1547027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ortfolio Description</a:t>
            </a: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55652" y="3680021"/>
            <a:ext cx="30940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Implementation Approach</a:t>
            </a:r>
          </a:p>
        </p:txBody>
      </p:sp>
      <p:sp>
        <p:nvSpPr>
          <p:cNvPr id="12" name="TextBox 11"/>
          <p:cNvSpPr txBox="1">
            <a:spLocks noChangeArrowheads="1"/>
          </p:cNvSpPr>
          <p:nvPr userDrawn="1"/>
        </p:nvSpPr>
        <p:spPr bwMode="auto">
          <a:xfrm>
            <a:off x="4637619" y="751014"/>
            <a:ext cx="1700212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lanned Capabilities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4637619" y="3680021"/>
            <a:ext cx="1756716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Partners/Stakeholders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355652" y="1682408"/>
            <a:ext cx="1735138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cs typeface="Arial" charset="0"/>
              </a:rPr>
              <a:t>Anticipated Benefit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287168" y="2324318"/>
            <a:ext cx="4191000" cy="1195827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476860"/>
            <a:ext cx="2057400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611155" y="3895465"/>
            <a:ext cx="4118238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57200" y="256888"/>
            <a:ext cx="8229600" cy="61312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109425" y="3635239"/>
            <a:ext cx="45017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2000" y="1137908"/>
            <a:ext cx="0" cy="54819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H="1">
            <a:off x="4572002" y="3635239"/>
            <a:ext cx="45017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67852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05800" y="6381750"/>
            <a:ext cx="70961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600" b="0">
                <a:solidFill>
                  <a:srgbClr val="000000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F23DE4-B76B-4F6B-8D59-24E3CD3C70F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6105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67000"/>
            <a:ext cx="77724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16460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3124200" y="6096000"/>
            <a:ext cx="2895600" cy="381000"/>
          </a:xfr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6553200" y="6492875"/>
            <a:ext cx="2133600" cy="365125"/>
          </a:xfrm>
        </p:spPr>
        <p:txBody>
          <a:bodyPr/>
          <a:lstStyle>
            <a:lvl1pPr>
              <a:defRPr sz="1400"/>
            </a:lvl1pPr>
          </a:lstStyle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7974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i="0" cap="all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96141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19237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4572000" y="762000"/>
            <a:ext cx="0" cy="5562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381002" y="3657600"/>
            <a:ext cx="83819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457200" y="762000"/>
            <a:ext cx="1731693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ortfolio Description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4625096" y="762000"/>
            <a:ext cx="169950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lanned Capabilities</a:t>
            </a: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457200" y="3657600"/>
            <a:ext cx="30940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Implementation Approach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457200" y="5102423"/>
            <a:ext cx="2819400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artners/Stakeholders</a:t>
            </a:r>
          </a:p>
        </p:txBody>
      </p:sp>
      <p:sp>
        <p:nvSpPr>
          <p:cNvPr id="18" name="TextBox 17"/>
          <p:cNvSpPr txBox="1">
            <a:spLocks noChangeArrowheads="1"/>
          </p:cNvSpPr>
          <p:nvPr userDrawn="1"/>
        </p:nvSpPr>
        <p:spPr bwMode="auto">
          <a:xfrm>
            <a:off x="4599701" y="3657600"/>
            <a:ext cx="248689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Risks and Execution Challeng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81000" y="990600"/>
            <a:ext cx="4191000" cy="838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484991" y="1828800"/>
            <a:ext cx="173592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Anticipated Benefit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381000" y="2057400"/>
            <a:ext cx="4191000" cy="1600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81000" y="3886200"/>
            <a:ext cx="4191000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81000" y="5334000"/>
            <a:ext cx="2133599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334000"/>
            <a:ext cx="2057400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572000" y="3886200"/>
            <a:ext cx="4191000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itle 3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6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5" name="Date Placeholder 34"/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96304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24133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34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C9D01A86-1220-4E3B-A76F-2CAE376CD0E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8203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no page or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580032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ad Chart (Overvie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4572000" y="762000"/>
            <a:ext cx="0" cy="5562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381002" y="3657600"/>
            <a:ext cx="83819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457200" y="762000"/>
            <a:ext cx="1731693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ortfolio Description</a:t>
            </a: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4625096" y="762000"/>
            <a:ext cx="169950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lanned Capabilities</a:t>
            </a: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457200" y="3657600"/>
            <a:ext cx="309405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Implementation Approach</a:t>
            </a: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457200" y="5102423"/>
            <a:ext cx="2819400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Partners/Stakeholders</a:t>
            </a:r>
          </a:p>
        </p:txBody>
      </p:sp>
      <p:sp>
        <p:nvSpPr>
          <p:cNvPr id="18" name="TextBox 17"/>
          <p:cNvSpPr txBox="1">
            <a:spLocks noChangeArrowheads="1"/>
          </p:cNvSpPr>
          <p:nvPr userDrawn="1"/>
        </p:nvSpPr>
        <p:spPr bwMode="auto">
          <a:xfrm>
            <a:off x="4599701" y="3657600"/>
            <a:ext cx="2486899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Risks and Execution Challenges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/>
          </p:nvPr>
        </p:nvSpPr>
        <p:spPr>
          <a:xfrm>
            <a:off x="457200" y="76201"/>
            <a:ext cx="8229600" cy="685800"/>
          </a:xfrm>
        </p:spPr>
        <p:txBody>
          <a:bodyPr/>
          <a:lstStyle>
            <a:lvl1pPr>
              <a:defRPr sz="280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381000" y="990600"/>
            <a:ext cx="4191000" cy="838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Date Placeholder 28"/>
          <p:cNvSpPr>
            <a:spLocks noGrp="1"/>
          </p:cNvSpPr>
          <p:nvPr>
            <p:ph type="dt" sz="half" idx="28"/>
          </p:nvPr>
        </p:nvSpPr>
        <p:spPr>
          <a:xfrm>
            <a:off x="0" y="6553200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9" name="Slide Number Placeholder 30"/>
          <p:cNvSpPr>
            <a:spLocks noGrp="1"/>
          </p:cNvSpPr>
          <p:nvPr>
            <p:ph type="sldNum" sz="quarter" idx="30"/>
          </p:nvPr>
        </p:nvSpPr>
        <p:spPr>
          <a:xfrm>
            <a:off x="7010400" y="6553200"/>
            <a:ext cx="2133600" cy="304800"/>
          </a:xfrm>
          <a:prstGeom prst="rect">
            <a:avLst/>
          </a:prstGeom>
        </p:spPr>
        <p:txBody>
          <a:bodyPr/>
          <a:lstStyle>
            <a:lvl1pPr>
              <a:defRPr sz="1400" b="0" i="0">
                <a:latin typeface="+mn-lt"/>
              </a:defRPr>
            </a:lvl1pPr>
          </a:lstStyle>
          <a:p>
            <a:fld id="{320A13BE-D9E5-EA47-BF65-598E39FC8A8B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484991" y="1828800"/>
            <a:ext cx="1735924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57200">
              <a:defRPr/>
            </a:pPr>
            <a:r>
              <a:rPr lang="en-US" sz="1400" b="1" dirty="0">
                <a:solidFill>
                  <a:prstClr val="black"/>
                </a:solidFill>
                <a:ea typeface="ＭＳ Ｐゴシック" charset="0"/>
              </a:rPr>
              <a:t>Anticipated Benefit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381000" y="2057400"/>
            <a:ext cx="4191000" cy="1600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81000" y="3886200"/>
            <a:ext cx="4191000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381000" y="5334000"/>
            <a:ext cx="2133599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34"/>
          </p:nvPr>
        </p:nvSpPr>
        <p:spPr>
          <a:xfrm>
            <a:off x="2514600" y="5334000"/>
            <a:ext cx="2057400" cy="11430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35"/>
          </p:nvPr>
        </p:nvSpPr>
        <p:spPr>
          <a:xfrm>
            <a:off x="4572000" y="3886200"/>
            <a:ext cx="4191000" cy="1219200"/>
          </a:xfrm>
        </p:spPr>
        <p:txBody>
          <a:bodyPr/>
          <a:lstStyle>
            <a:lvl1pPr marL="114300" indent="-114300"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Date Placeholder 28"/>
          <p:cNvSpPr txBox="1">
            <a:spLocks/>
          </p:cNvSpPr>
          <p:nvPr userDrawn="1"/>
        </p:nvSpPr>
        <p:spPr>
          <a:xfrm>
            <a:off x="2971800" y="6553200"/>
            <a:ext cx="3200400" cy="304800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+mn-lt"/>
              </a:defRPr>
            </a:lvl1pPr>
          </a:lstStyle>
          <a:p>
            <a:pPr algn="ctr" defTabSz="457200">
              <a:defRPr/>
            </a:pPr>
            <a:r>
              <a:rPr lang="en-US" sz="1100" dirty="0">
                <a:solidFill>
                  <a:prstClr val="white">
                    <a:lumMod val="50000"/>
                  </a:prstClr>
                </a:solidFill>
                <a:ea typeface="ＭＳ Ｐゴシック" charset="0"/>
              </a:rPr>
              <a:t>Not for distribution.  For ANG-D and ANG-1 use only.</a:t>
            </a:r>
          </a:p>
        </p:txBody>
      </p:sp>
    </p:spTree>
    <p:extLst>
      <p:ext uri="{BB962C8B-B14F-4D97-AF65-F5344CB8AC3E}">
        <p14:creationId xmlns:p14="http://schemas.microsoft.com/office/powerpoint/2010/main" val="36453970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77732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576570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60341" y="6248400"/>
            <a:ext cx="110126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4982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9828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09463" y="6248400"/>
            <a:ext cx="173736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314356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95564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09463" y="6248400"/>
            <a:ext cx="173736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314356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08723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09463" y="6248400"/>
            <a:ext cx="173736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314356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49244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545" name="Picture 1081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" r="31892"/>
          <a:stretch/>
        </p:blipFill>
        <p:spPr bwMode="auto">
          <a:xfrm>
            <a:off x="5577840" y="-1832"/>
            <a:ext cx="3566160" cy="68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27038" y="4497388"/>
            <a:ext cx="4822825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600" dirty="0">
                <a:solidFill>
                  <a:srgbClr val="1D2F68"/>
                </a:solidFill>
              </a:rPr>
              <a:t>By:</a:t>
            </a:r>
          </a:p>
          <a:p>
            <a:pPr>
              <a:buFontTx/>
              <a:buNone/>
            </a:pPr>
            <a:endParaRPr lang="en-US" sz="1600" dirty="0">
              <a:solidFill>
                <a:srgbClr val="1D2F68"/>
              </a:solidFill>
            </a:endParaRPr>
          </a:p>
          <a:p>
            <a:pPr>
              <a:buFontTx/>
              <a:buNone/>
            </a:pPr>
            <a:endParaRPr lang="en-US" sz="1600" dirty="0">
              <a:solidFill>
                <a:srgbClr val="1D2F68"/>
              </a:solidFill>
            </a:endParaRPr>
          </a:p>
          <a:p>
            <a:pPr>
              <a:buFontTx/>
              <a:buNone/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5873750" y="271463"/>
            <a:ext cx="2895600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4971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3339" y="6248400"/>
            <a:ext cx="1672032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6798" y="6248400"/>
            <a:ext cx="2895600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86682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57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54994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16371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871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 descr="sunrise_plane_powerpoin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0"/>
            <a:ext cx="3563937" cy="687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051"/>
          <p:cNvSpPr txBox="1">
            <a:spLocks noChangeArrowheads="1"/>
          </p:cNvSpPr>
          <p:nvPr/>
        </p:nvSpPr>
        <p:spPr bwMode="auto">
          <a:xfrm>
            <a:off x="427038" y="4497388"/>
            <a:ext cx="4822825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endParaRPr lang="en-US" sz="1600" dirty="0">
              <a:solidFill>
                <a:srgbClr val="1D2F68"/>
              </a:solidFill>
            </a:endParaRPr>
          </a:p>
          <a:p>
            <a:pPr eaLnBrk="1" hangingPunct="1">
              <a:buFontTx/>
              <a:buNone/>
            </a:pPr>
            <a:endParaRPr lang="en-US" sz="1600" dirty="0">
              <a:solidFill>
                <a:srgbClr val="1D2F68"/>
              </a:solidFill>
            </a:endParaRPr>
          </a:p>
          <a:p>
            <a:pPr eaLnBrk="1" hangingPunct="1">
              <a:buFontTx/>
              <a:buNone/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" name="Group 1080"/>
          <p:cNvGrpSpPr>
            <a:grpSpLocks/>
          </p:cNvGrpSpPr>
          <p:nvPr/>
        </p:nvGrpSpPr>
        <p:grpSpPr bwMode="auto">
          <a:xfrm>
            <a:off x="5873750" y="269875"/>
            <a:ext cx="2895600" cy="911225"/>
            <a:chOff x="3700" y="170"/>
            <a:chExt cx="1824" cy="574"/>
          </a:xfrm>
        </p:grpSpPr>
        <p:pic>
          <p:nvPicPr>
            <p:cNvPr id="7" name="Picture 1079" descr="NEW FAA LOGO"/>
            <p:cNvPicPr>
              <a:picLocks noChangeAspect="1" noChangeArrowheads="1"/>
            </p:cNvPicPr>
            <p:nvPr userDrawn="1"/>
          </p:nvPicPr>
          <p:blipFill>
            <a:blip r:embed="rId3" cstate="print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700" y="170"/>
              <a:ext cx="573" cy="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 dirty="0">
                  <a:solidFill>
                    <a:schemeClr val="bg1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 dirty="0">
                  <a:solidFill>
                    <a:schemeClr val="bg1"/>
                  </a:solidFill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67230626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320074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439C59-9C2C-4CE6-845E-105B03877C8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80261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C6E112-5E39-4990-8FAC-C079F10118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56112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3E15A5-3CA0-4968-AE46-F4177C6CED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56352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606D95-CD1A-4C1A-9D22-7AE0BCF1B1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53568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E149BA-C7A6-4CCD-9B32-33378F4380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187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1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65F9A-9A66-4F64-AE5D-94501AD36A3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DA1CA9-5F2A-4F95-9037-B75DA977691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60319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1B4BE-41C8-469A-8943-0F6E86106CA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127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12E448-F8C9-4F2F-B45C-9516EF5774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58079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0EF96-D045-40E7-B5CB-8BB393E5C8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64793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3" descr="RTCA-P356-Logo_t.gi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990600"/>
            <a:ext cx="265906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>
          <a:xfrm>
            <a:off x="685800" y="2590800"/>
            <a:ext cx="7772400" cy="1470025"/>
          </a:xfrm>
        </p:spPr>
        <p:txBody>
          <a:bodyPr/>
          <a:lstStyle>
            <a:lvl1pPr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571" name="Rectangle 43"/>
          <p:cNvSpPr>
            <a:spLocks noGrp="1" noChangeArrowheads="1"/>
          </p:cNvSpPr>
          <p:nvPr>
            <p:ph type="body" idx="1"/>
          </p:nvPr>
        </p:nvSpPr>
        <p:spPr>
          <a:xfrm>
            <a:off x="1371600" y="44196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457200"/>
            <a:ext cx="9144000" cy="198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RTCA_logo_final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67000" y="513788"/>
            <a:ext cx="4093434" cy="184809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85800" y="457200"/>
            <a:ext cx="7772400" cy="22098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RTCA_logo_final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19400" y="666188"/>
            <a:ext cx="4093434" cy="1848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19480"/>
      </p:ext>
    </p:extLst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buFontTx/>
              <a:buBlip>
                <a:blip r:embed="rId2"/>
              </a:buBlip>
              <a:defRPr baseline="0">
                <a:solidFill>
                  <a:srgbClr val="000000"/>
                </a:solidFill>
              </a:defRPr>
            </a:lvl1pPr>
            <a:lvl2pPr>
              <a:spcBef>
                <a:spcPts val="9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2pPr>
            <a:lvl3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3pPr>
            <a:lvl4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4pPr>
            <a:lvl5pPr>
              <a:spcBef>
                <a:spcPts val="3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5DF4DA-EF2E-4BE5-9142-C3624521545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420254"/>
      </p:ext>
    </p:extLst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400374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8EBC4D-563B-4DA8-89C6-65409761E5B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5548108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32416"/>
      </p:ext>
    </p:extLst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59C1E2-A49A-450B-8A6D-C07F702CDAC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11344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696795-0F94-466F-A0DF-E3802F1DA9A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3331345"/>
      </p:ext>
    </p:extLst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7887687"/>
      </p:ext>
    </p:extLst>
  </p:cSld>
  <p:clrMapOvr>
    <a:masterClrMapping/>
  </p:clrMapOvr>
  <p:transition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214535"/>
      </p:ext>
    </p:extLst>
  </p:cSld>
  <p:clrMapOvr>
    <a:masterClrMapping/>
  </p:clrMapOvr>
  <p:transition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96704"/>
      </p:ext>
    </p:extLst>
  </p:cSld>
  <p:clrMapOvr>
    <a:masterClrMapping/>
  </p:clrMapOvr>
  <p:transition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151654"/>
      </p:ext>
    </p:extLst>
  </p:cSld>
  <p:clrMapOvr>
    <a:masterClrMapping/>
  </p:clrMapOvr>
  <p:transition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B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B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F8E609-DE7A-452D-AC72-51693D1F104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325111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94EB28-273A-44EC-AB23-CDABE290F72F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26"/>
          <p:cNvGrpSpPr>
            <a:grpSpLocks/>
          </p:cNvGrpSpPr>
          <p:nvPr userDrawn="1"/>
        </p:nvGrpSpPr>
        <p:grpSpPr bwMode="auto">
          <a:xfrm>
            <a:off x="739775" y="2791333"/>
            <a:ext cx="7693025" cy="1057275"/>
            <a:chOff x="466" y="2509"/>
            <a:chExt cx="4846" cy="666"/>
          </a:xfrm>
        </p:grpSpPr>
        <p:sp>
          <p:nvSpPr>
            <p:cNvPr id="8" name="Line 5"/>
            <p:cNvSpPr>
              <a:spLocks noChangeShapeType="1"/>
            </p:cNvSpPr>
            <p:nvPr/>
          </p:nvSpPr>
          <p:spPr bwMode="auto">
            <a:xfrm>
              <a:off x="466" y="2509"/>
              <a:ext cx="4846" cy="0"/>
            </a:xfrm>
            <a:prstGeom prst="line">
              <a:avLst/>
            </a:prstGeom>
            <a:noFill/>
            <a:ln w="6350">
              <a:solidFill>
                <a:srgbClr val="FDAA0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Line 6"/>
            <p:cNvSpPr>
              <a:spLocks noChangeShapeType="1"/>
            </p:cNvSpPr>
            <p:nvPr/>
          </p:nvSpPr>
          <p:spPr bwMode="auto">
            <a:xfrm>
              <a:off x="466" y="3175"/>
              <a:ext cx="4846" cy="0"/>
            </a:xfrm>
            <a:prstGeom prst="line">
              <a:avLst/>
            </a:prstGeom>
            <a:noFill/>
            <a:ln w="6350">
              <a:solidFill>
                <a:srgbClr val="FDAA0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Title 1"/>
          <p:cNvSpPr>
            <a:spLocks noGrp="1"/>
          </p:cNvSpPr>
          <p:nvPr userDrawn="1">
            <p:ph type="title"/>
          </p:nvPr>
        </p:nvSpPr>
        <p:spPr>
          <a:xfrm>
            <a:off x="722313" y="2645195"/>
            <a:ext cx="7772400" cy="136207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387051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600" b="0">
                <a:solidFill>
                  <a:srgbClr val="000000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2F0585B-56D4-4AA2-8BEB-3EE316BE7CA1}" type="slidenum">
              <a:rPr lang="en-US" smtClean="0"/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33857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600" b="0">
                <a:solidFill>
                  <a:srgbClr val="000000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algn="r">
              <a:defRPr/>
            </a:pPr>
            <a:fld id="{02F0585B-56D4-4AA2-8BEB-3EE316BE7CA1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53086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00200"/>
            <a:ext cx="79248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667000"/>
            <a:ext cx="79248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3010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78868C-43A8-4870-A690-2E785B81C5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17782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nding and Incr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5"/>
          <p:cNvSpPr txBox="1">
            <a:spLocks/>
          </p:cNvSpPr>
          <p:nvPr userDrawn="1"/>
        </p:nvSpPr>
        <p:spPr>
          <a:xfrm>
            <a:off x="3276600" y="6553200"/>
            <a:ext cx="2895600" cy="3810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DRAFT Version 0.6 7-14-201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3124200"/>
            <a:ext cx="8229600" cy="28146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FDC520-BC95-4EB2-A637-F8E8C2CAC9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85428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80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62400"/>
            <a:ext cx="8229600" cy="990600"/>
          </a:xfrm>
        </p:spPr>
        <p:txBody>
          <a:bodyPr anchor="t">
            <a:normAutofit/>
          </a:bodyPr>
          <a:lstStyle>
            <a:lvl1pPr algn="l">
              <a:defRPr sz="3200" b="1" i="0" cap="none" baseline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953000"/>
            <a:ext cx="8229600" cy="7620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54587A2C-EEF8-4FD1-A36D-8521E1871C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5419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B96C71F1-F74E-4780-AF48-D0B6C6F1B43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39883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963238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5"/>
          <p:cNvSpPr txBox="1">
            <a:spLocks/>
          </p:cNvSpPr>
          <p:nvPr userDrawn="1"/>
        </p:nvSpPr>
        <p:spPr>
          <a:xfrm>
            <a:off x="3276600" y="6553200"/>
            <a:ext cx="2895600" cy="3810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DRAFT Version 0.6 7-14-2014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6BD4C5F5-B17C-4F2F-8014-7151378B2A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57259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5"/>
          <p:cNvSpPr txBox="1">
            <a:spLocks/>
          </p:cNvSpPr>
          <p:nvPr userDrawn="1"/>
        </p:nvSpPr>
        <p:spPr>
          <a:xfrm>
            <a:off x="3276600" y="6553200"/>
            <a:ext cx="2895600" cy="3810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DRAFT Version 0.6 7-14-2014-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00F33623-FCBC-47AB-9A30-4F381E2C99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23975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5"/>
          <p:cNvSpPr txBox="1">
            <a:spLocks/>
          </p:cNvSpPr>
          <p:nvPr userDrawn="1"/>
        </p:nvSpPr>
        <p:spPr>
          <a:xfrm>
            <a:off x="3276600" y="6553200"/>
            <a:ext cx="2895600" cy="3810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DRAFT Version 0.6 7-14-2014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33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3262EE52-6B29-452A-9F4A-FA6F3526CD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823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600" b="0">
                <a:solidFill>
                  <a:srgbClr val="000000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algn="r" defTabSz="914400">
              <a:defRPr/>
            </a:pPr>
            <a:fld id="{02F0585B-56D4-4AA2-8BEB-3EE316BE7CA1}" type="slidenum">
              <a:rPr lang="en-US" smtClean="0"/>
              <a:pPr algn="r" defTabSz="914400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5293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875193" y="6510008"/>
            <a:ext cx="666750" cy="266700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25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22312" y="0"/>
            <a:ext cx="6242932" cy="778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>
              <a:defRPr sz="2600" b="1" i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Content Placeholder 10"/>
          <p:cNvSpPr>
            <a:spLocks noGrp="1"/>
          </p:cNvSpPr>
          <p:nvPr>
            <p:ph sz="quarter" idx="13"/>
          </p:nvPr>
        </p:nvSpPr>
        <p:spPr>
          <a:xfrm>
            <a:off x="485422" y="990600"/>
            <a:ext cx="3999443" cy="5029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buClrTx/>
              <a:defRPr sz="2000"/>
            </a:lvl1pPr>
            <a:lvl2pPr marL="400050" indent="-228600">
              <a:buClrTx/>
              <a:defRPr sz="1800"/>
            </a:lvl2pPr>
            <a:lvl3pPr marL="571500" indent="-171450">
              <a:buClrTx/>
              <a:defRPr sz="1600"/>
            </a:lvl3pPr>
            <a:lvl4pPr marL="800100" indent="-228600">
              <a:buClrTx/>
              <a:defRPr sz="1400"/>
            </a:lvl4pPr>
            <a:lvl5pPr marL="971550" indent="-171450">
              <a:buClrTx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10"/>
          <p:cNvSpPr>
            <a:spLocks noGrp="1"/>
          </p:cNvSpPr>
          <p:nvPr>
            <p:ph sz="quarter" idx="14"/>
          </p:nvPr>
        </p:nvSpPr>
        <p:spPr>
          <a:xfrm>
            <a:off x="4706679" y="990600"/>
            <a:ext cx="3997054" cy="5029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71450" indent="-171450">
              <a:buClrTx/>
              <a:defRPr sz="2000"/>
            </a:lvl1pPr>
            <a:lvl2pPr marL="400050" indent="-228600">
              <a:buClrTx/>
              <a:defRPr sz="1800"/>
            </a:lvl2pPr>
            <a:lvl3pPr marL="571500" indent="-171450">
              <a:buClrTx/>
              <a:defRPr sz="1600"/>
            </a:lvl3pPr>
            <a:lvl4pPr marL="800100" indent="-228600">
              <a:buClrTx/>
              <a:defRPr sz="1400"/>
            </a:lvl4pPr>
            <a:lvl5pPr marL="971550" indent="-171450">
              <a:buClrTx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379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93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7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 photo_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19620"/>
            <a:ext cx="9144000" cy="4038380"/>
          </a:xfrm>
          <a:prstGeom prst="rect">
            <a:avLst/>
          </a:prstGeom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9659" y="333559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 dirty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62834" y="1775009"/>
            <a:ext cx="4951412" cy="1067092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89498" y="3123185"/>
            <a:ext cx="4822825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Presented to: NACSC</a:t>
            </a:r>
          </a:p>
          <a:p>
            <a:pPr defTabSz="914400">
              <a:spcBef>
                <a:spcPct val="50000"/>
              </a:spcBef>
            </a:pPr>
            <a:endParaRPr lang="en-US" sz="1600" dirty="0">
              <a:solidFill>
                <a:srgbClr val="1D2F68"/>
              </a:solidFill>
            </a:endParaRPr>
          </a:p>
          <a:p>
            <a:pPr defTabSz="914400">
              <a:spcBef>
                <a:spcPct val="50000"/>
              </a:spcBef>
            </a:pPr>
            <a:r>
              <a:rPr lang="en-US" sz="1600" dirty="0">
                <a:solidFill>
                  <a:srgbClr val="1D2F68"/>
                </a:solidFill>
              </a:rPr>
              <a:t>Date: May 25, 2016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356380" y="5560061"/>
            <a:ext cx="2895600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defTabSz="914400">
                <a:lnSpc>
                  <a:spcPct val="85000"/>
                </a:lnSpc>
              </a:pPr>
              <a:r>
                <a:rPr lang="en-US" b="1">
                  <a:solidFill>
                    <a:srgbClr val="FFFFFF"/>
                  </a:solidFill>
                </a:rPr>
                <a:t>Federal Aviation</a:t>
              </a:r>
            </a:p>
            <a:p>
              <a:pPr defTabSz="914400">
                <a:lnSpc>
                  <a:spcPct val="85000"/>
                </a:lnSpc>
              </a:pPr>
              <a:r>
                <a:rPr lang="en-US" b="1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912909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48103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8620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18667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369604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1190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 photo_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19620"/>
            <a:ext cx="9144000" cy="4038380"/>
          </a:xfrm>
          <a:prstGeom prst="rect">
            <a:avLst/>
          </a:prstGeom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9659" y="333559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 dirty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62834" y="1775009"/>
            <a:ext cx="4951412" cy="1067092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89498" y="3123185"/>
            <a:ext cx="4822825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600" dirty="0">
                <a:solidFill>
                  <a:srgbClr val="1D2F68"/>
                </a:solidFill>
              </a:rPr>
              <a:t>Presented to: NAC</a:t>
            </a:r>
          </a:p>
          <a:p>
            <a:pPr>
              <a:buFontTx/>
              <a:buNone/>
            </a:pPr>
            <a:endParaRPr lang="en-US" sz="1600" dirty="0">
              <a:solidFill>
                <a:srgbClr val="1D2F68"/>
              </a:solidFill>
            </a:endParaRPr>
          </a:p>
          <a:p>
            <a:pPr>
              <a:buFontTx/>
              <a:buNone/>
            </a:pPr>
            <a:r>
              <a:rPr lang="en-US" sz="1600" dirty="0">
                <a:solidFill>
                  <a:srgbClr val="1D2F68"/>
                </a:solidFill>
              </a:rPr>
              <a:t>Date: June</a:t>
            </a:r>
            <a:r>
              <a:rPr lang="en-US" sz="1600" baseline="0" dirty="0">
                <a:solidFill>
                  <a:srgbClr val="1D2F68"/>
                </a:solidFill>
              </a:rPr>
              <a:t> 17</a:t>
            </a:r>
            <a:r>
              <a:rPr lang="en-US" sz="1600" dirty="0">
                <a:solidFill>
                  <a:srgbClr val="1D2F68"/>
                </a:solidFill>
              </a:rPr>
              <a:t>, 2016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356380" y="5560061"/>
            <a:ext cx="2895600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800" b="1">
                  <a:solidFill>
                    <a:schemeClr val="bg1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334383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/>
          </a:p>
        </p:txBody>
      </p:sp>
      <p:sp>
        <p:nvSpPr>
          <p:cNvPr id="9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/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7522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78909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4866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5" y="1508127"/>
            <a:ext cx="8050213" cy="439102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31354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74530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1752A96C-C671-429A-A78B-4FE0E1EF85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05049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08554A81-154F-4520-A2DB-1084D8E5AB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92029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FBE6779C-29A0-4F0A-B18A-0B729C7169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70239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15B5FB75-1E29-4337-933C-B5F6A81102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75364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0EAB91B4-4BCD-4C17-A8F3-9DBFB30CD3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8515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C8661F85-C303-4F0D-9B8C-4EC326B648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62877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B352D231-EE46-4D9D-B1CE-EBC3E0F1E4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73386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95F957-6EF4-4682-9C49-1B7ACA399E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034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513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95305" y="1098550"/>
            <a:ext cx="8050213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1BB92EAF-6D20-47CE-9C5D-9A631867BC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03251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2C2A8EB3-5781-40E3-881C-68549C5622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50252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0" y="1508125"/>
            <a:ext cx="8050213" cy="43910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/>
            </a:lvl1pPr>
          </a:lstStyle>
          <a:p>
            <a:pPr>
              <a:defRPr/>
            </a:pPr>
            <a:fld id="{366C3FC2-2BDA-4FC2-BCBF-A48A557C95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11464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7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8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0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8297" y="5555831"/>
            <a:ext cx="8033954" cy="1002197"/>
          </a:xfrm>
        </p:spPr>
        <p:txBody>
          <a:bodyPr>
            <a:no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buNone/>
              <a:defRPr sz="2800" b="1" baseline="0">
                <a:solidFill>
                  <a:schemeClr val="accent4"/>
                </a:solidFill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buNone/>
              <a:defRPr sz="2800" baseline="0">
                <a:solidFill>
                  <a:schemeClr val="accent4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buNone/>
              <a:defRPr sz="1800" baseline="0">
                <a:solidFill>
                  <a:schemeClr val="accent4"/>
                </a:solidFill>
              </a:defRPr>
            </a:lvl3pPr>
            <a:lvl4pPr marL="509588" indent="0">
              <a:buNone/>
              <a:defRPr/>
            </a:lvl4pPr>
            <a:lvl5pPr marL="6905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15408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C9B0ED44-7E62-4C95-88DB-0A2366DD4B99}" type="slidenum">
              <a:rPr lang="en-US" altLang="en-US" sz="1000">
                <a:solidFill>
                  <a:srgbClr val="5E7E94"/>
                </a:solidFill>
              </a:rPr>
              <a:pPr eaLnBrk="1" hangingPunct="1"/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7" name="Picture 8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50837" y="1183342"/>
            <a:ext cx="8436547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62959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1AC0EE8F-1B4E-4872-80DC-D3DE27C32C48}" type="slidenum">
              <a:rPr lang="en-US" altLang="en-US" sz="1000">
                <a:solidFill>
                  <a:srgbClr val="5E7E94"/>
                </a:solidFill>
              </a:rPr>
              <a:pPr eaLnBrk="1" hangingPunct="1"/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50838" y="1183342"/>
            <a:ext cx="3995252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0"/>
          </p:nvPr>
        </p:nvSpPr>
        <p:spPr>
          <a:xfrm>
            <a:off x="4793926" y="1183342"/>
            <a:ext cx="3995252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79673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1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DF171A85-0F9B-4E43-AED0-E48F195F9F32}" type="slidenum">
              <a:rPr lang="en-US" altLang="en-US" sz="1000">
                <a:solidFill>
                  <a:srgbClr val="5E7E94"/>
                </a:solidFill>
              </a:rPr>
              <a:pPr eaLnBrk="1" hangingPunct="1"/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230516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United_ppt_cov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89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 descr="united_6p_h_c_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6019800"/>
            <a:ext cx="267335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298" y="2020889"/>
            <a:ext cx="7589762" cy="611187"/>
          </a:xfrm>
        </p:spPr>
        <p:txBody>
          <a:bodyPr anchor="b"/>
          <a:lstStyle>
            <a:lvl1pPr>
              <a:defRPr sz="40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9298" y="2670175"/>
            <a:ext cx="7589762" cy="17526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3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716144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buClrTx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4438" y="6550025"/>
            <a:ext cx="309562" cy="307975"/>
          </a:xfrm>
        </p:spPr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28342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90" y="4406901"/>
            <a:ext cx="7772703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90" y="2906713"/>
            <a:ext cx="777270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2984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9" descr="sunrise_plane_powerpoint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588001" y="0"/>
            <a:ext cx="355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32"/>
          <p:cNvSpPr txBox="1">
            <a:spLocks noChangeArrowheads="1"/>
          </p:cNvSpPr>
          <p:nvPr userDrawn="1"/>
        </p:nvSpPr>
        <p:spPr bwMode="auto">
          <a:xfrm>
            <a:off x="427038" y="5192713"/>
            <a:ext cx="5118100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  <a:latin typeface="Times New Roman" pitchFamily="18" charset="0"/>
              </a:rPr>
              <a:t> </a:t>
            </a:r>
          </a:p>
          <a:p>
            <a:pPr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latin typeface="Times New Roman" pitchFamily="18" charset="0"/>
              </a:rPr>
              <a:t>Lt Col William Crowe, USAF, NSAAP</a:t>
            </a:r>
          </a:p>
          <a:p>
            <a:pPr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latin typeface="Times New Roman" pitchFamily="18" charset="0"/>
              </a:rPr>
              <a:t>J. Scott Dehart, Headquarters FAA, NSAAP</a:t>
            </a:r>
          </a:p>
          <a:p>
            <a:pPr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latin typeface="Times New Roman" pitchFamily="18" charset="0"/>
              </a:rPr>
              <a:t>January 20, 2011</a:t>
            </a:r>
          </a:p>
        </p:txBody>
      </p:sp>
      <p:grpSp>
        <p:nvGrpSpPr>
          <p:cNvPr id="6" name="Group 48"/>
          <p:cNvGrpSpPr>
            <a:grpSpLocks/>
          </p:cNvGrpSpPr>
          <p:nvPr userDrawn="1"/>
        </p:nvGrpSpPr>
        <p:grpSpPr bwMode="auto">
          <a:xfrm>
            <a:off x="5873761" y="269879"/>
            <a:ext cx="2895601" cy="911225"/>
            <a:chOff x="3700" y="170"/>
            <a:chExt cx="1824" cy="574"/>
          </a:xfrm>
        </p:grpSpPr>
        <p:sp>
          <p:nvSpPr>
            <p:cNvPr id="7" name="Text Box 4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  <p:pic>
          <p:nvPicPr>
            <p:cNvPr id="8" name="Picture 47" descr="NEW FAA LOGO"/>
            <p:cNvPicPr>
              <a:picLocks noChangeAspect="1" noChangeArrowheads="1"/>
            </p:cNvPicPr>
            <p:nvPr userDrawn="1"/>
          </p:nvPicPr>
          <p:blipFill>
            <a:blip r:embed="rId3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700" y="170"/>
              <a:ext cx="573" cy="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3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5059362" cy="1395412"/>
          </a:xfrm>
        </p:spPr>
        <p:txBody>
          <a:bodyPr anchor="t"/>
          <a:lstStyle>
            <a:lvl1pPr>
              <a:defRPr sz="3600">
                <a:latin typeface="Times New Roman" pitchFamily="18" charset="0"/>
              </a:defRPr>
            </a:lvl1pPr>
          </a:lstStyle>
          <a:p>
            <a:r>
              <a:rPr lang="en-US" dirty="0"/>
              <a:t>National Special Activity Airspace Project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rgbClr val="969696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National Special Activity Airspace Project</a:t>
            </a:r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3917" y="1552575"/>
            <a:ext cx="3927929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6989" y="1552575"/>
            <a:ext cx="392944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20919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5" y="274638"/>
            <a:ext cx="823081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595" y="1535113"/>
            <a:ext cx="404132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595" y="2174875"/>
            <a:ext cx="404132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72" y="1535113"/>
            <a:ext cx="40428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72" y="2174875"/>
            <a:ext cx="40428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31730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64493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71690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6" y="273050"/>
            <a:ext cx="300869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55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96" y="1435101"/>
            <a:ext cx="3008690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16143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608" y="4800600"/>
            <a:ext cx="5486702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608" y="612775"/>
            <a:ext cx="5486702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608" y="5367338"/>
            <a:ext cx="5486702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01738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93817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36179" y="455613"/>
            <a:ext cx="2000250" cy="52117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3918" y="455613"/>
            <a:ext cx="5857119" cy="52117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0106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United_ppt_cov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89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united_6p_h_c_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19800"/>
            <a:ext cx="26733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298" y="2020889"/>
            <a:ext cx="7589762" cy="611187"/>
          </a:xfrm>
        </p:spPr>
        <p:txBody>
          <a:bodyPr anchor="b"/>
          <a:lstStyle>
            <a:lvl1pPr>
              <a:defRPr sz="40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9298" y="2670175"/>
            <a:ext cx="7589762" cy="175260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32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6021133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buClrTx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34438" y="6550025"/>
            <a:ext cx="309562" cy="30797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5733633-24D7-4D56-9FAC-EF9EA33F58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7708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Times New Roman" pitchFamily="18" charset="0"/>
              </a:defRPr>
            </a:lvl1pPr>
            <a:lvl2pPr>
              <a:defRPr baseline="0">
                <a:latin typeface="Times New Roman" pitchFamily="18" charset="0"/>
              </a:defRPr>
            </a:lvl2pPr>
            <a:lvl3pPr>
              <a:defRPr baseline="0">
                <a:latin typeface="Times New Roman" pitchFamily="18" charset="0"/>
              </a:defRPr>
            </a:lvl3pPr>
            <a:lvl4pPr>
              <a:defRPr baseline="0">
                <a:latin typeface="Times New Roman" pitchFamily="18" charset="0"/>
              </a:defRPr>
            </a:lvl4pPr>
            <a:lvl5pPr>
              <a:defRPr baseline="0">
                <a:latin typeface="Times New Roman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90" y="4406901"/>
            <a:ext cx="7772703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90" y="2906713"/>
            <a:ext cx="7772703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B3920C0-449A-4622-B5C2-6D6B48831D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99857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3917" y="1552575"/>
            <a:ext cx="3927929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6989" y="1552575"/>
            <a:ext cx="392944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578071A-6A61-4F0B-9B44-9E19C950DE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36140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5" y="274638"/>
            <a:ext cx="823081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595" y="1535113"/>
            <a:ext cx="404132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595" y="2174875"/>
            <a:ext cx="404132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72" y="1535113"/>
            <a:ext cx="40428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72" y="2174875"/>
            <a:ext cx="40428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FD54A47-ABE3-42B3-9B83-AE7D75FD2E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80664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94F78FE-0EF7-4228-A54E-45E914F4EE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87913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CB6C562-015D-4D6F-BE62-461B8FBDA3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77043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6" y="273050"/>
            <a:ext cx="300869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55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96" y="1435101"/>
            <a:ext cx="3008690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E1C17C-B24C-44BC-B1CD-CF89EB92B7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81232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608" y="4800600"/>
            <a:ext cx="5486702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608" y="612775"/>
            <a:ext cx="5486702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608" y="5367338"/>
            <a:ext cx="5486702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A932CE-D515-4157-A199-17889809D1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9129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F3309EC-905F-477C-8D94-7BA4F2F70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12795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36179" y="455613"/>
            <a:ext cx="2000250" cy="52117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3918" y="455613"/>
            <a:ext cx="5857119" cy="52117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165225" y="6397625"/>
            <a:ext cx="3460750" cy="307975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101109-6FB2-4016-B033-97DA7C28F7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84121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1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2" name="think-cell Slide" r:id="rId7" imgW="38100" imgH="38100" progId="TCLayout.ActiveDocument.1">
                  <p:embed/>
                </p:oleObj>
              </mc:Choice>
              <mc:Fallback>
                <p:oleObj name="think-cell Slide" r:id="rId7" imgW="38100" imgH="38100" progId="TCLayout.ActiveDocument.1">
                  <p:embed/>
                  <p:pic>
                    <p:nvPicPr>
                      <p:cNvPr id="5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09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08297" y="5555831"/>
            <a:ext cx="8033954" cy="1002197"/>
          </a:xfrm>
        </p:spPr>
        <p:txBody>
          <a:bodyPr>
            <a:no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buNone/>
              <a:defRPr sz="2800" b="1" baseline="0">
                <a:solidFill>
                  <a:schemeClr val="accent4"/>
                </a:solidFill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buNone/>
              <a:defRPr sz="2800" baseline="0">
                <a:solidFill>
                  <a:schemeClr val="accent4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buNone/>
              <a:defRPr sz="1800" baseline="0">
                <a:solidFill>
                  <a:schemeClr val="accent4"/>
                </a:solidFill>
              </a:defRPr>
            </a:lvl3pPr>
            <a:lvl4pPr marL="509588" indent="0">
              <a:buNone/>
              <a:defRPr/>
            </a:lvl4pPr>
            <a:lvl5pPr marL="6905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7629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FD6805C7-9A31-4403-9345-8FEF40BD3D03}" type="slidenum">
              <a:rPr lang="en-US" altLang="en-US" sz="1000">
                <a:solidFill>
                  <a:srgbClr val="5E7E94"/>
                </a:solidFill>
              </a:rPr>
              <a:pPr eaLnBrk="1" hangingPunct="1">
                <a:defRPr/>
              </a:pPr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7" name="Picture 8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50837" y="1183342"/>
            <a:ext cx="8436547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5724267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4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5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B7F0D8E5-E42A-43C1-8238-11A337E06336}" type="slidenum">
              <a:rPr lang="en-US" altLang="en-US" sz="1000">
                <a:solidFill>
                  <a:srgbClr val="5E7E94"/>
                </a:solidFill>
              </a:rPr>
              <a:pPr eaLnBrk="1" hangingPunct="1">
                <a:defRPr/>
              </a:pPr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350838" y="1183342"/>
            <a:ext cx="3995252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idx="10"/>
          </p:nvPr>
        </p:nvSpPr>
        <p:spPr>
          <a:xfrm>
            <a:off x="4793926" y="1183342"/>
            <a:ext cx="3995252" cy="50507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004789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3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7545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3"/>
          <p:cNvSpPr txBox="1">
            <a:spLocks/>
          </p:cNvSpPr>
          <p:nvPr/>
        </p:nvSpPr>
        <p:spPr>
          <a:xfrm>
            <a:off x="350838" y="6542088"/>
            <a:ext cx="2009775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chemeClr val="accent4"/>
                </a:solidFill>
              </a:rPr>
              <a:t>Proprietary &amp; Confidential</a:t>
            </a: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350838" y="6369050"/>
            <a:ext cx="1465262" cy="16192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rgbClr val="5E7E94"/>
                </a:solidFill>
              </a:rPr>
              <a:t>Page </a:t>
            </a:r>
            <a:fld id="{AEEB2B1E-E28E-4FA4-AA2B-F7D6CA8800AD}" type="slidenum">
              <a:rPr lang="en-US" altLang="en-US" sz="1000">
                <a:solidFill>
                  <a:srgbClr val="5E7E94"/>
                </a:solidFill>
              </a:rPr>
              <a:pPr eaLnBrk="1" hangingPunct="1">
                <a:defRPr/>
              </a:pPr>
              <a:t>‹#›</a:t>
            </a:fld>
            <a:endParaRPr lang="en-US" altLang="en-US" sz="1000">
              <a:solidFill>
                <a:srgbClr val="5E7E94"/>
              </a:solidFill>
            </a:endParaRPr>
          </a:p>
        </p:txBody>
      </p:sp>
      <p:pic>
        <p:nvPicPr>
          <p:cNvPr id="8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6415088"/>
            <a:ext cx="14779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47472" y="402336"/>
            <a:ext cx="8439912" cy="4044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6916029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-87084" y="1269996"/>
            <a:ext cx="9144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  <a:cs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45342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74133"/>
            <a:ext cx="9151257" cy="6283867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 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4457" y="38194"/>
            <a:ext cx="8686800" cy="533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457200" y="874207"/>
            <a:ext cx="8461375" cy="54757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66110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38426"/>
            <a:ext cx="8229600" cy="479705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87F22ED9-1857-6443-AADB-78B668FAFF49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574133"/>
            <a:ext cx="9151257" cy="6283867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793106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115685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615496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442342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6637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637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181451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7741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97503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7741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797503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530345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3654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623143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4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684103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38426"/>
            <a:ext cx="8229600" cy="479705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87F22ED9-1857-6443-AADB-78B668FAFF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20537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87F22ED9-1857-6443-AADB-78B668FAFF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3594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3" descr="RTCA-P356-Logo_t.g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5" y="990601"/>
            <a:ext cx="265906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/>
          <p:nvPr/>
        </p:nvSpPr>
        <p:spPr>
          <a:xfrm>
            <a:off x="0" y="457200"/>
            <a:ext cx="9144000" cy="198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" name="Picture 6" descr="RTCA_logo_final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7002" y="5143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/>
          <p:nvPr/>
        </p:nvSpPr>
        <p:spPr>
          <a:xfrm>
            <a:off x="685800" y="457200"/>
            <a:ext cx="7772400" cy="22098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8" descr="RTCA_logo_final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19402" y="6667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>
          <a:xfrm>
            <a:off x="685800" y="2590810"/>
            <a:ext cx="7772400" cy="1470025"/>
          </a:xfrm>
        </p:spPr>
        <p:txBody>
          <a:bodyPr/>
          <a:lstStyle>
            <a:lvl1pPr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571" name="Rectangle 43"/>
          <p:cNvSpPr>
            <a:spLocks noGrp="1" noChangeArrowheads="1"/>
          </p:cNvSpPr>
          <p:nvPr>
            <p:ph type="body" idx="1"/>
          </p:nvPr>
        </p:nvSpPr>
        <p:spPr>
          <a:xfrm>
            <a:off x="1371600" y="44196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9282259"/>
      </p:ext>
    </p:extLst>
  </p:cSld>
  <p:clrMapOvr>
    <a:masterClrMapping/>
  </p:clrMapOvr>
  <p:transition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buFontTx/>
              <a:buBlip>
                <a:blip r:embed="rId2"/>
              </a:buBlip>
              <a:defRPr baseline="0">
                <a:solidFill>
                  <a:srgbClr val="000000"/>
                </a:solidFill>
              </a:defRPr>
            </a:lvl1pPr>
            <a:lvl2pPr>
              <a:spcBef>
                <a:spcPts val="9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2pPr>
            <a:lvl3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3pPr>
            <a:lvl4pPr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4pPr>
            <a:lvl5pPr>
              <a:spcBef>
                <a:spcPts val="30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F2B9D202-D94D-4AA9-9058-B1F334797B1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124336"/>
      </p:ext>
    </p:extLst>
  </p:cSld>
  <p:clrMapOvr>
    <a:masterClrMapping/>
  </p:clrMapOvr>
  <p:transition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1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ECDFE7EA-B895-4AEE-9ED8-B2AD390B8B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711778"/>
      </p:ext>
    </p:extLst>
  </p:cSld>
  <p:clrMapOvr>
    <a:masterClrMapping/>
  </p:clrMapOvr>
  <p:transition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67EF9B3E-B8DB-4205-8BEC-491243BB4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513849"/>
      </p:ext>
    </p:extLst>
  </p:cSld>
  <p:clrMapOvr>
    <a:masterClrMapping/>
  </p:clrMapOvr>
  <p:transition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C3735CF2-6C1E-4EAC-B851-22B2650D349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401882"/>
      </p:ext>
    </p:extLst>
  </p:cSld>
  <p:clrMapOvr>
    <a:masterClrMapping/>
  </p:clrMapOvr>
  <p:transition/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29E78026-13F5-4E9B-A795-F836572119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95592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24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016A96-4B59-4A23-A32E-D47317DF47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602C3481-9331-4E2F-B587-65AABEC8A63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55795"/>
      </p:ext>
    </p:extLst>
  </p:cSld>
  <p:clrMapOvr>
    <a:masterClrMapping/>
  </p:clrMapOvr>
  <p:transition/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A3D0F90F-AA40-4B98-81A0-4802A45FB2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63128"/>
      </p:ext>
    </p:extLst>
  </p:cSld>
  <p:clrMapOvr>
    <a:masterClrMapping/>
  </p:clrMapOvr>
  <p:transition/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0CD4B003-3C9E-42BB-B8A4-4B3C33C2D28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43562"/>
      </p:ext>
    </p:extLst>
  </p:cSld>
  <p:clrMapOvr>
    <a:masterClrMapping/>
  </p:clrMapOvr>
  <p:transition/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98C72764-152F-4F5B-9582-A61C439664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86467"/>
      </p:ext>
    </p:extLst>
  </p:cSld>
  <p:clrMapOvr>
    <a:masterClrMapping/>
  </p:clrMapOvr>
  <p:transition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charset="0"/>
              </a:defRPr>
            </a:lvl1pPr>
          </a:lstStyle>
          <a:p>
            <a:pPr>
              <a:defRPr/>
            </a:pPr>
            <a:fld id="{7B9BD5A4-04FF-494D-9D53-C1C420AADF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792489"/>
      </p:ext>
    </p:extLst>
  </p:cSld>
  <p:clrMapOvr>
    <a:masterClrMapping/>
  </p:clrMapOvr>
  <p:transition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3B76"/>
                </a:solidFill>
                <a:latin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dirty="0">
                <a:solidFill>
                  <a:srgbClr val="003B76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582E83E8-82A0-4718-B076-AC7934E74A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96481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6"/>
          <p:cNvGrpSpPr>
            <a:grpSpLocks/>
          </p:cNvGrpSpPr>
          <p:nvPr userDrawn="1"/>
        </p:nvGrpSpPr>
        <p:grpSpPr bwMode="auto">
          <a:xfrm>
            <a:off x="739779" y="2790835"/>
            <a:ext cx="7693025" cy="1057275"/>
            <a:chOff x="466" y="2509"/>
            <a:chExt cx="4846" cy="666"/>
          </a:xfrm>
        </p:grpSpPr>
        <p:sp>
          <p:nvSpPr>
            <p:cNvPr id="4" name="Line 5"/>
            <p:cNvSpPr>
              <a:spLocks noChangeShapeType="1"/>
            </p:cNvSpPr>
            <p:nvPr/>
          </p:nvSpPr>
          <p:spPr bwMode="auto">
            <a:xfrm>
              <a:off x="466" y="2509"/>
              <a:ext cx="4846" cy="0"/>
            </a:xfrm>
            <a:prstGeom prst="line">
              <a:avLst/>
            </a:prstGeom>
            <a:noFill/>
            <a:ln w="6350">
              <a:solidFill>
                <a:srgbClr val="FDAA03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5" name="Line 6"/>
            <p:cNvSpPr>
              <a:spLocks noChangeShapeType="1"/>
            </p:cNvSpPr>
            <p:nvPr/>
          </p:nvSpPr>
          <p:spPr bwMode="auto">
            <a:xfrm>
              <a:off x="466" y="3175"/>
              <a:ext cx="4846" cy="0"/>
            </a:xfrm>
            <a:prstGeom prst="line">
              <a:avLst/>
            </a:prstGeom>
            <a:noFill/>
            <a:ln w="6350">
              <a:solidFill>
                <a:srgbClr val="FDAA03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22313" y="2645205"/>
            <a:ext cx="7772400" cy="136207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7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18ECF76-74B5-43F2-B9EE-89FA89F271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62710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 rot="19130466">
            <a:off x="393702" y="2105035"/>
            <a:ext cx="8367713" cy="14462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dirty="0">
                <a:solidFill>
                  <a:srgbClr val="4F81BD">
                    <a:lumMod val="20000"/>
                    <a:lumOff val="80000"/>
                  </a:srgbClr>
                </a:solidFill>
                <a:latin typeface="Calibri" pitchFamily="34" charset="0"/>
              </a:rPr>
              <a:t>TEMPLATE</a:t>
            </a:r>
          </a:p>
        </p:txBody>
      </p:sp>
      <p:pic>
        <p:nvPicPr>
          <p:cNvPr id="3" name="Picture 5" descr="FAA_NG_PPT_Titl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581400" y="6324600"/>
            <a:ext cx="2133600" cy="23495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17375E"/>
                </a:solidFill>
                <a:latin typeface="Calibri" pitchFamily="34" charset="0"/>
                <a:cs typeface="Arial" charset="0"/>
              </a:defRPr>
            </a:lvl1pPr>
          </a:lstStyle>
          <a:p>
            <a:fld id="{E19D8FD4-03C1-4526-9B66-179D69D766F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16099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667000" y="6457950"/>
            <a:ext cx="2481263" cy="4000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3B76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628724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FAA_NG_PPT_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600200"/>
            <a:ext cx="7924800" cy="10668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2667000"/>
            <a:ext cx="7924800" cy="838200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8EB4E3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3575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066801"/>
            <a:ext cx="8229600" cy="4872038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2936875" y="6477000"/>
            <a:ext cx="32766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1F9321A9-05E4-4A31-A93E-73C423013F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78751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nding and Incr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>
            <a:lvl1pPr>
              <a:defRPr sz="2800">
                <a:solidFill>
                  <a:srgbClr val="17375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3124200"/>
            <a:ext cx="8229600" cy="28146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4D8BE9C3-BC25-45F7-A587-3F88C29BFF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2936875" y="6477000"/>
            <a:ext cx="32766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49681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AA_NG_PPT_SectionTitle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80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62400"/>
            <a:ext cx="8229600" cy="990600"/>
          </a:xfrm>
        </p:spPr>
        <p:txBody>
          <a:bodyPr anchor="t">
            <a:normAutofit/>
          </a:bodyPr>
          <a:lstStyle>
            <a:lvl1pPr algn="l">
              <a:defRPr sz="3200" b="1" i="0" cap="none" baseline="0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953000"/>
            <a:ext cx="8229600" cy="762000"/>
          </a:xfrm>
        </p:spPr>
        <p:txBody>
          <a:bodyPr>
            <a:normAutofit/>
          </a:bodyPr>
          <a:lstStyle>
            <a:lvl1pPr marL="0" indent="0">
              <a:buNone/>
              <a:defRPr sz="2000" b="1" i="0">
                <a:solidFill>
                  <a:schemeClr val="tx2">
                    <a:lumMod val="40000"/>
                    <a:lumOff val="60000"/>
                  </a:schemeClr>
                </a:solidFill>
                <a:latin typeface="+mj-lt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5AC868C-69F3-49C4-8C6B-C5F3E0466B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15094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3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4008" y="1066800"/>
            <a:ext cx="4038600" cy="487193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B0455885-AD6F-43D9-B3B8-C60B02DEE6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06325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3924F267-D43A-4C24-8103-C58B705CD5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49909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7D182109-A6FA-49C4-9ACB-CC4BAEC042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02990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A05A2521-B882-4E8B-9EAD-96DCE92FD8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521070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 rot="19130466">
            <a:off x="393700" y="2105025"/>
            <a:ext cx="8367713" cy="144621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dirty="0">
                <a:solidFill>
                  <a:srgbClr val="4F81BD">
                    <a:lumMod val="20000"/>
                    <a:lumOff val="80000"/>
                  </a:srgbClr>
                </a:solidFill>
                <a:cs typeface="Arial" pitchFamily="34" charset="0"/>
              </a:rPr>
              <a:t>TEMPLATE</a:t>
            </a:r>
          </a:p>
        </p:txBody>
      </p:sp>
      <p:pic>
        <p:nvPicPr>
          <p:cNvPr id="3" name="Picture 5" descr="FAA_NG_PPT_Titl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7938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543800" y="6400800"/>
            <a:ext cx="2133600" cy="234950"/>
          </a:xfrm>
        </p:spPr>
        <p:txBody>
          <a:bodyPr rtlCol="0"/>
          <a:lstStyle>
            <a:lvl1pPr algn="ctr">
              <a:defRPr sz="1400" b="1">
                <a:solidFill>
                  <a:prstClr val="black"/>
                </a:solidFill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07D9A86A-D2A6-47EF-B464-2FE9B08F15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53503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334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C7E03EDB-922A-4BF5-808F-55B0E8D9C5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03062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endations and I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25908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152400" y="3962400"/>
            <a:ext cx="8839200" cy="21336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13"/>
          </p:nvPr>
        </p:nvSpPr>
        <p:spPr>
          <a:xfrm>
            <a:off x="6553200" y="6492875"/>
            <a:ext cx="2133600" cy="365125"/>
          </a:xfrm>
        </p:spPr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C88CBC9-910C-4993-B676-269D54E64E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4104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 userDrawn="1"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685800"/>
            <a:ext cx="8839200" cy="4267200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6553200" y="6492875"/>
            <a:ext cx="2438400" cy="365125"/>
          </a:xfrm>
        </p:spPr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14765B08-ACEB-4B0B-9295-663DFA705C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382023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ub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381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1200">
                <a:solidFill>
                  <a:prstClr val="black"/>
                </a:solidFill>
                <a:latin typeface="Arial" charset="0"/>
              </a:defRPr>
            </a:lvl1pPr>
          </a:lstStyle>
          <a:p>
            <a:pPr>
              <a:defRPr/>
            </a:pPr>
            <a:fld id="{D69F6771-1853-41CC-B260-58C4A7646C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36420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66" y="175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6" y="175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11" name="Picture 27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86" y="486225"/>
            <a:ext cx="8477250" cy="4811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99439" y="1213497"/>
            <a:ext cx="7831538" cy="54822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562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14" name="Picture 7" descr="united_6p_h_c_r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3926" y="5802483"/>
            <a:ext cx="2806699" cy="54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699433" y="4046779"/>
            <a:ext cx="5036084" cy="361205"/>
            <a:chOff x="1663" y="3147"/>
            <a:chExt cx="3109" cy="22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7"/>
              <a:ext cx="310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79990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4D4F53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79990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4D4F53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99439" y="2768671"/>
            <a:ext cx="7831538" cy="230833"/>
          </a:xfrm>
        </p:spPr>
        <p:txBody>
          <a:bodyPr wrap="square">
            <a:spAutoFit/>
          </a:bodyPr>
          <a:lstStyle>
            <a:lvl1pPr>
              <a:defRPr sz="150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6207289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6" y="1745"/>
          <a:ext cx="151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6" y="1745"/>
                        <a:ext cx="1512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44" y="234974"/>
            <a:ext cx="8794113" cy="2789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121497" y="6736555"/>
            <a:ext cx="1209267" cy="769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500">
                <a:solidFill>
                  <a:schemeClr val="tx1"/>
                </a:solidFill>
              </a:defRPr>
            </a:lvl1pPr>
          </a:lstStyle>
          <a:p>
            <a:pPr defTabSz="799903"/>
            <a:endParaRPr lang="en-US" dirty="0">
              <a:solidFill>
                <a:srgbClr val="4D4F53"/>
              </a:solidFill>
            </a:endParaRP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auto">
          <a:xfrm>
            <a:off x="4437472" y="6587704"/>
            <a:ext cx="99386" cy="9618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79990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25" smtClean="0">
                <a:solidFill>
                  <a:srgbClr val="808080"/>
                </a:solidFill>
              </a:rPr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25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60995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53304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United_ppt_divider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1892"/>
          <a:stretch/>
        </p:blipFill>
        <p:spPr bwMode="auto">
          <a:xfrm>
            <a:off x="-9839" y="0"/>
            <a:ext cx="915383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2935" y="2817495"/>
            <a:ext cx="7772400" cy="862965"/>
          </a:xfrm>
        </p:spPr>
        <p:txBody>
          <a:bodyPr lIns="91440" tIns="45720"/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2935" y="3766185"/>
            <a:ext cx="2177415" cy="537210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" pitchFamily="2" charset="2"/>
              <a:buNone/>
              <a:defRPr sz="31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023002"/>
      </p:ext>
    </p:extLst>
  </p:cSld>
  <p:clrMapOvr>
    <a:masterClrMapping/>
  </p:clrMapOvr>
  <p:transition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F9BF5-7012-4F9A-9E65-FB821F6529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7634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018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A3874-D023-48EC-B727-D02942AA49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3087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018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399" y="1040806"/>
            <a:ext cx="8229203" cy="452536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830FC-1857-4947-A631-B98E688452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8587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218808" y="6591300"/>
            <a:ext cx="712337" cy="2667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875">
                <a:solidFill>
                  <a:srgbClr val="000000"/>
                </a:solidFill>
              </a:defRPr>
            </a:lvl1pPr>
          </a:lstStyle>
          <a:p>
            <a:fld id="{DAEE5644-0F66-194D-8060-3E1EE36212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05655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United_ppt_divider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1892"/>
          <a:stretch/>
        </p:blipFill>
        <p:spPr bwMode="auto">
          <a:xfrm>
            <a:off x="-9839" y="0"/>
            <a:ext cx="915383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2935" y="2817495"/>
            <a:ext cx="7772400" cy="862965"/>
          </a:xfrm>
        </p:spPr>
        <p:txBody>
          <a:bodyPr lIns="91440" tIns="45720"/>
          <a:lstStyle>
            <a:lvl1pPr>
              <a:defRPr sz="37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2935" y="3766185"/>
            <a:ext cx="2177415" cy="537210"/>
          </a:xfrm>
        </p:spPr>
        <p:txBody>
          <a:bodyPr/>
          <a:lstStyle>
            <a:lvl1pPr marL="0" indent="0">
              <a:spcAft>
                <a:spcPct val="0"/>
              </a:spcAft>
              <a:buFont typeface="Wingdings" pitchFamily="2" charset="2"/>
              <a:buNone/>
              <a:defRPr sz="31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402744"/>
      </p:ext>
    </p:extLst>
  </p:cSld>
  <p:clrMapOvr>
    <a:masterClrMapping/>
  </p:clrMapOvr>
  <p:transition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F9BF5-7012-4F9A-9E65-FB821F6529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3118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018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A3874-D023-48EC-B727-D02942AA490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17463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018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399" y="1040806"/>
            <a:ext cx="8229203" cy="452536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830FC-1857-4947-A631-B98E688452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996003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218808" y="6591300"/>
            <a:ext cx="712337" cy="2667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875">
                <a:solidFill>
                  <a:srgbClr val="000000"/>
                </a:solidFill>
              </a:defRPr>
            </a:lvl1pPr>
          </a:lstStyle>
          <a:p>
            <a:fld id="{DAEE5644-0F66-194D-8060-3E1EE36212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245013"/>
      </p:ext>
    </p:extLst>
  </p:cSld>
  <p:clrMapOvr>
    <a:masterClrMapping/>
  </p:clrMapOvr>
  <p:transition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3" descr="RTCA-P356-Logo_t.gi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1" y="990602"/>
            <a:ext cx="265906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/>
          <p:nvPr/>
        </p:nvSpPr>
        <p:spPr>
          <a:xfrm>
            <a:off x="0" y="457200"/>
            <a:ext cx="9144000" cy="198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6" name="Picture 6" descr="RTCA_logo_fina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7001" y="5143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/>
          <p:nvPr/>
        </p:nvSpPr>
        <p:spPr>
          <a:xfrm>
            <a:off x="685800" y="457200"/>
            <a:ext cx="7772400" cy="22098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8" name="Picture 8" descr="RTCA_logo_fina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401" y="6667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>
          <a:xfrm>
            <a:off x="685800" y="2590802"/>
            <a:ext cx="7772400" cy="1470025"/>
          </a:xfrm>
        </p:spPr>
        <p:txBody>
          <a:bodyPr/>
          <a:lstStyle>
            <a:lvl1pPr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571" name="Rectangle 43"/>
          <p:cNvSpPr>
            <a:spLocks noGrp="1" noChangeArrowheads="1"/>
          </p:cNvSpPr>
          <p:nvPr>
            <p:ph type="body" idx="1"/>
          </p:nvPr>
        </p:nvSpPr>
        <p:spPr>
          <a:xfrm>
            <a:off x="1371600" y="44196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2900623"/>
      </p:ext>
    </p:extLst>
  </p:cSld>
  <p:clrMapOvr>
    <a:masterClrMapping/>
  </p:clrMapOvr>
  <p:transition/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>
            <a:lvl1pPr>
              <a:spcBef>
                <a:spcPts val="900"/>
              </a:spcBef>
              <a:buFontTx/>
              <a:buBlip>
                <a:blip r:embed="rId2"/>
              </a:buBlip>
              <a:defRPr baseline="0">
                <a:solidFill>
                  <a:srgbClr val="000000"/>
                </a:solidFill>
              </a:defRPr>
            </a:lvl1pPr>
            <a:lvl2pPr>
              <a:spcBef>
                <a:spcPts val="675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2pPr>
            <a:lvl3pPr>
              <a:spcBef>
                <a:spcPts val="45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3pPr>
            <a:lvl4pPr>
              <a:spcBef>
                <a:spcPts val="45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4pPr>
            <a:lvl5pPr>
              <a:spcBef>
                <a:spcPts val="225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16116"/>
      </p:ext>
    </p:extLst>
  </p:cSld>
  <p:clrMapOvr>
    <a:masterClrMapping/>
  </p:clrMapOvr>
  <p:transition/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3000" b="1" cap="all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738935"/>
      </p:ext>
    </p:extLst>
  </p:cSld>
  <p:clrMapOvr>
    <a:masterClrMapping/>
  </p:clrMapOvr>
  <p:transition/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18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15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200">
                <a:solidFill>
                  <a:srgbClr val="000000"/>
                </a:solidFill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18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15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200">
                <a:solidFill>
                  <a:srgbClr val="000000"/>
                </a:solidFill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55533"/>
      </p:ext>
    </p:extLst>
  </p:cSld>
  <p:clrMapOvr>
    <a:masterClrMapping/>
  </p:clrMapOvr>
  <p:transition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5"/>
            <a:ext cx="4041775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91399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290581"/>
      </p:ext>
    </p:extLst>
  </p:cSld>
  <p:clrMapOvr>
    <a:masterClrMapping/>
  </p:clrMapOvr>
  <p:transition/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397293"/>
      </p:ext>
    </p:extLst>
  </p:cSld>
  <p:clrMapOvr>
    <a:masterClrMapping/>
  </p:clrMapOvr>
  <p:transition/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1"/>
            <a:ext cx="3008313" cy="11620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635587"/>
      </p:ext>
    </p:extLst>
  </p:cSld>
  <p:clrMapOvr>
    <a:masterClrMapping/>
  </p:clrMapOvr>
  <p:transition/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573522"/>
      </p:ext>
    </p:extLst>
  </p:cSld>
  <p:clrMapOvr>
    <a:masterClrMapping/>
  </p:clrMapOvr>
  <p:transition/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11017"/>
      </p:ext>
    </p:extLst>
  </p:cSld>
  <p:clrMapOvr>
    <a:masterClrMapping/>
  </p:clrMapOvr>
  <p:transition/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823729"/>
      </p:ext>
    </p:extLst>
  </p:cSld>
  <p:clrMapOvr>
    <a:masterClrMapping/>
  </p:clrMapOvr>
  <p:transition/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9959187"/>
      </p:ext>
    </p:extLst>
  </p:cSld>
  <p:clrMapOvr>
    <a:masterClrMapping/>
  </p:clrMapOvr>
  <p:transition spd="med"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009255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390622"/>
      </p:ext>
    </p:extLst>
  </p:cSld>
  <p:clrMapOvr>
    <a:masterClrMapping/>
  </p:clrMapOvr>
  <p:transition spd="med"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90972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2577922"/>
      </p:ext>
    </p:extLst>
  </p:cSld>
  <p:clrMapOvr>
    <a:masterClrMapping/>
  </p:clrMapOvr>
  <p:transition spd="med"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5416574"/>
      </p:ext>
    </p:extLst>
  </p:cSld>
  <p:clrMapOvr>
    <a:masterClrMapping/>
  </p:clrMapOvr>
  <p:transition spd="med">
    <p:fad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75879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024625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858140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870697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51"/>
          <p:cNvSpPr txBox="1">
            <a:spLocks noChangeArrowheads="1"/>
          </p:cNvSpPr>
          <p:nvPr userDrawn="1"/>
        </p:nvSpPr>
        <p:spPr bwMode="auto">
          <a:xfrm>
            <a:off x="417513" y="4367702"/>
            <a:ext cx="4992687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71600" marR="0" indent="-13716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1D2F68"/>
                </a:solidFill>
              </a:rPr>
              <a:t>Presented by:	</a:t>
            </a:r>
            <a:r>
              <a:rPr lang="en-US" sz="1600" dirty="0">
                <a:solidFill>
                  <a:srgbClr val="1D2F68"/>
                </a:solidFill>
              </a:rPr>
              <a:t>Nan Shellabarger, Executive Director, FAA Aviation Policy and Plans</a:t>
            </a:r>
          </a:p>
          <a:p>
            <a:pPr marL="1371600" marR="0" indent="-13716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rgbClr val="1D2F68"/>
              </a:solidFill>
            </a:endParaRPr>
          </a:p>
          <a:p>
            <a:pPr eaLnBrk="1" hangingPunct="1">
              <a:buFontTx/>
              <a:buNone/>
              <a:defRPr/>
            </a:pPr>
            <a:r>
              <a:rPr lang="en-US" sz="1600" b="1" dirty="0">
                <a:solidFill>
                  <a:srgbClr val="1D2F68"/>
                </a:solidFill>
              </a:rPr>
              <a:t>Presented to:</a:t>
            </a:r>
            <a:r>
              <a:rPr lang="en-US" sz="1600" b="1" baseline="0" dirty="0">
                <a:solidFill>
                  <a:srgbClr val="1D2F68"/>
                </a:solidFill>
              </a:rPr>
              <a:t> </a:t>
            </a:r>
            <a:r>
              <a:rPr lang="en-US" sz="1600" dirty="0">
                <a:solidFill>
                  <a:srgbClr val="1D2F68"/>
                </a:solidFill>
              </a:rPr>
              <a:t>Drone Advisory Committee</a:t>
            </a:r>
          </a:p>
          <a:p>
            <a:pPr eaLnBrk="1" hangingPunct="1">
              <a:buFontTx/>
              <a:buNone/>
              <a:defRPr/>
            </a:pPr>
            <a:endParaRPr lang="en-US" sz="1600" dirty="0">
              <a:solidFill>
                <a:srgbClr val="1D2F68"/>
              </a:solidFill>
            </a:endParaRPr>
          </a:p>
          <a:p>
            <a:pPr marL="0" indent="0" eaLnBrk="1" hangingPunct="1">
              <a:buFontTx/>
              <a:buNone/>
              <a:defRPr/>
            </a:pPr>
            <a:r>
              <a:rPr lang="en-US" sz="1600" b="1" dirty="0">
                <a:solidFill>
                  <a:srgbClr val="1D2F68"/>
                </a:solidFill>
              </a:rPr>
              <a:t>Date:  	</a:t>
            </a:r>
            <a:r>
              <a:rPr lang="en-US" sz="1600" b="1" baseline="0" dirty="0">
                <a:solidFill>
                  <a:srgbClr val="1D2F68"/>
                </a:solidFill>
              </a:rPr>
              <a:t>       </a:t>
            </a:r>
            <a:r>
              <a:rPr lang="en-US" sz="1600" dirty="0">
                <a:solidFill>
                  <a:srgbClr val="1D2F68"/>
                </a:solidFill>
              </a:rPr>
              <a:t>January</a:t>
            </a:r>
            <a:r>
              <a:rPr lang="en-US" sz="1600" baseline="0" dirty="0">
                <a:solidFill>
                  <a:srgbClr val="1D2F68"/>
                </a:solidFill>
              </a:rPr>
              <a:t> 31, 2017</a:t>
            </a:r>
            <a:endParaRPr lang="en-US" sz="1600" dirty="0">
              <a:solidFill>
                <a:srgbClr val="1D2F68"/>
              </a:solidFill>
            </a:endParaRPr>
          </a:p>
        </p:txBody>
      </p:sp>
      <p:grpSp>
        <p:nvGrpSpPr>
          <p:cNvPr id="5" name="Group 1088"/>
          <p:cNvGrpSpPr>
            <a:grpSpLocks/>
          </p:cNvGrpSpPr>
          <p:nvPr userDrawn="1"/>
        </p:nvGrpSpPr>
        <p:grpSpPr bwMode="auto">
          <a:xfrm>
            <a:off x="5868988" y="266700"/>
            <a:ext cx="2901950" cy="914400"/>
            <a:chOff x="3697" y="164"/>
            <a:chExt cx="1828" cy="576"/>
          </a:xfrm>
        </p:grpSpPr>
        <p:pic>
          <p:nvPicPr>
            <p:cNvPr id="6" name="Picture 108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697" y="164"/>
              <a:ext cx="577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1087"/>
            <p:cNvSpPr txBox="1">
              <a:spLocks noChangeArrowheads="1"/>
            </p:cNvSpPr>
            <p:nvPr userDrawn="1"/>
          </p:nvSpPr>
          <p:spPr bwMode="auto">
            <a:xfrm>
              <a:off x="4289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>
                  <a:solidFill>
                    <a:srgbClr val="1D2F68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800" b="1">
                  <a:solidFill>
                    <a:srgbClr val="1D2F68"/>
                  </a:solidFill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Select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237173463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73C793-D8EB-40FC-AD0C-ECEAD96C60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862258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0C90DBE-EDDE-473D-A6E4-0C24E4E8EFB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619217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858BD7-851F-4F6E-8169-46444B02E8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1734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54818" y="373063"/>
            <a:ext cx="2117725" cy="55260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0055" y="373063"/>
            <a:ext cx="6202363" cy="55260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2F8D0-7FA9-47BB-AA99-3EA4901FA6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6637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6912E9-CFB0-44AC-8664-AA3B8A14AC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28770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B1C5E-00D9-4D81-8B84-07927F9190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88925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8A554-FF33-48E6-BEFC-4EA0D2F4AE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25421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0D711-2B77-4659-822F-B2171D596D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62810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700984-4458-45D2-953B-4ED1F093E0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21688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10768-1A2A-488D-94CC-B56D4C1A7B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94951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5C1C3C-E307-4AAE-8809-6B03915274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5511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3" descr="RTCA-P356-Logo_t.gi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1" y="990602"/>
            <a:ext cx="265906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/>
          <p:nvPr/>
        </p:nvSpPr>
        <p:spPr>
          <a:xfrm>
            <a:off x="0" y="457200"/>
            <a:ext cx="9144000" cy="198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6" name="Picture 6" descr="RTCA_logo_fina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7001" y="5143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/>
          <p:nvPr/>
        </p:nvSpPr>
        <p:spPr>
          <a:xfrm>
            <a:off x="685800" y="457200"/>
            <a:ext cx="7772400" cy="22098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8" name="Picture 8" descr="RTCA_logo_fina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401" y="666750"/>
            <a:ext cx="4094163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>
          <a:xfrm>
            <a:off x="685800" y="2590802"/>
            <a:ext cx="7772400" cy="1470025"/>
          </a:xfrm>
        </p:spPr>
        <p:txBody>
          <a:bodyPr/>
          <a:lstStyle>
            <a:lvl1pPr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571" name="Rectangle 43"/>
          <p:cNvSpPr>
            <a:spLocks noGrp="1" noChangeArrowheads="1"/>
          </p:cNvSpPr>
          <p:nvPr>
            <p:ph type="body" idx="1"/>
          </p:nvPr>
        </p:nvSpPr>
        <p:spPr>
          <a:xfrm>
            <a:off x="1371600" y="44196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aseline="0" smtClean="0">
                <a:solidFill>
                  <a:srgbClr val="000000"/>
                </a:solidFill>
                <a:effectLst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792452"/>
      </p:ext>
    </p:extLst>
  </p:cSld>
  <p:clrMapOvr>
    <a:masterClrMapping/>
  </p:clrMapOvr>
  <p:transition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>
            <a:lvl1pPr>
              <a:spcBef>
                <a:spcPts val="900"/>
              </a:spcBef>
              <a:buFontTx/>
              <a:buBlip>
                <a:blip r:embed="rId2"/>
              </a:buBlip>
              <a:defRPr baseline="0">
                <a:solidFill>
                  <a:srgbClr val="000000"/>
                </a:solidFill>
              </a:defRPr>
            </a:lvl1pPr>
            <a:lvl2pPr>
              <a:spcBef>
                <a:spcPts val="675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2pPr>
            <a:lvl3pPr>
              <a:spcBef>
                <a:spcPts val="45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3pPr>
            <a:lvl4pPr>
              <a:spcBef>
                <a:spcPts val="450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4pPr>
            <a:lvl5pPr>
              <a:spcBef>
                <a:spcPts val="225"/>
              </a:spcBef>
              <a:buClr>
                <a:srgbClr val="000000"/>
              </a:buClr>
              <a:buFont typeface="Arial" pitchFamily="34" charset="0"/>
              <a:buChar char="•"/>
              <a:defRPr baseline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37004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3000" b="1" cap="all"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683214"/>
      </p:ext>
    </p:extLst>
  </p:cSld>
  <p:clrMapOvr>
    <a:masterClrMapping/>
  </p:clrMapOvr>
  <p:transition/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18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15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200">
                <a:solidFill>
                  <a:srgbClr val="000000"/>
                </a:solidFill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30725"/>
          </a:xfrm>
        </p:spPr>
        <p:txBody>
          <a:bodyPr/>
          <a:lstStyle>
            <a:lvl1pPr>
              <a:buClr>
                <a:srgbClr val="000000"/>
              </a:buClr>
              <a:buFontTx/>
              <a:buBlip>
                <a:blip r:embed="rId2"/>
              </a:buBlip>
              <a:defRPr sz="1800">
                <a:solidFill>
                  <a:srgbClr val="000000"/>
                </a:solidFill>
              </a:defRPr>
            </a:lvl1pPr>
            <a:lvl2pPr>
              <a:buClr>
                <a:srgbClr val="000000"/>
              </a:buClr>
              <a:buFont typeface="Arial" pitchFamily="34" charset="0"/>
              <a:buChar char="•"/>
              <a:defRPr sz="1500">
                <a:solidFill>
                  <a:srgbClr val="000000"/>
                </a:solidFill>
              </a:defRPr>
            </a:lvl2pPr>
            <a:lvl3pPr>
              <a:buClr>
                <a:srgbClr val="000000"/>
              </a:buClr>
              <a:buFont typeface="Arial" pitchFamily="34" charset="0"/>
              <a:buChar char="•"/>
              <a:defRPr sz="1350">
                <a:solidFill>
                  <a:srgbClr val="000000"/>
                </a:solidFill>
              </a:defRPr>
            </a:lvl3pPr>
            <a:lvl4pPr>
              <a:buClr>
                <a:srgbClr val="000000"/>
              </a:buClr>
              <a:buFont typeface="Arial" pitchFamily="34" charset="0"/>
              <a:buChar char="•"/>
              <a:defRPr sz="1200">
                <a:solidFill>
                  <a:srgbClr val="000000"/>
                </a:solidFill>
              </a:defRPr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414399"/>
      </p:ext>
    </p:extLst>
  </p:cSld>
  <p:clrMapOvr>
    <a:masterClrMapping/>
  </p:clrMapOvr>
  <p:transition/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5"/>
            <a:ext cx="4041775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76544"/>
      </p:ext>
    </p:extLst>
  </p:cSld>
  <p:clrMapOvr>
    <a:masterClrMapping/>
  </p:clrMapOvr>
  <p:transition/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571102"/>
      </p:ext>
    </p:extLst>
  </p:cSld>
  <p:clrMapOvr>
    <a:masterClrMapping/>
  </p:clrMapOvr>
  <p:transition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008139"/>
      </p:ext>
    </p:extLst>
  </p:cSld>
  <p:clrMapOvr>
    <a:masterClrMapping/>
  </p:clrMapOvr>
  <p:transition/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1"/>
            <a:ext cx="3008313" cy="11620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277913"/>
      </p:ext>
    </p:extLst>
  </p:cSld>
  <p:clrMapOvr>
    <a:masterClrMapping/>
  </p:clrMapOvr>
  <p:transition/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380341"/>
      </p:ext>
    </p:extLst>
  </p:cSld>
  <p:clrMapOvr>
    <a:masterClrMapping/>
  </p:clrMapOvr>
  <p:transition/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86985"/>
      </p:ext>
    </p:extLst>
  </p:cSld>
  <p:clrMapOvr>
    <a:masterClrMapping/>
  </p:clrMapOvr>
  <p:transition/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305369"/>
      </p:ext>
    </p:extLst>
  </p:cSld>
  <p:clrMapOvr>
    <a:masterClrMapping/>
  </p:clrMapOvr>
  <p:transition/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545" name="Picture 1081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7840" y="-1832"/>
            <a:ext cx="3566160" cy="68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noProof="0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Select to edit master subtitle</a:t>
            </a:r>
          </a:p>
        </p:txBody>
      </p:sp>
      <p:sp>
        <p:nvSpPr>
          <p:cNvPr id="63515" name="Text Box 1051"/>
          <p:cNvSpPr txBox="1">
            <a:spLocks noChangeArrowheads="1"/>
          </p:cNvSpPr>
          <p:nvPr userDrawn="1"/>
        </p:nvSpPr>
        <p:spPr bwMode="auto">
          <a:xfrm>
            <a:off x="427038" y="4497388"/>
            <a:ext cx="4822825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600" dirty="0">
                <a:solidFill>
                  <a:srgbClr val="1D2F68"/>
                </a:solidFill>
              </a:rPr>
              <a:t>Presented to: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600" dirty="0">
                <a:solidFill>
                  <a:srgbClr val="1D2F68"/>
                </a:solidFill>
              </a:rPr>
              <a:t>By: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600" dirty="0">
                <a:solidFill>
                  <a:srgbClr val="1D2F68"/>
                </a:solidFill>
              </a:rPr>
              <a:t>Date:</a:t>
            </a:r>
          </a:p>
        </p:txBody>
      </p:sp>
      <p:grpSp>
        <p:nvGrpSpPr>
          <p:cNvPr id="63544" name="Group 1080"/>
          <p:cNvGrpSpPr>
            <a:grpSpLocks/>
          </p:cNvGrpSpPr>
          <p:nvPr userDrawn="1"/>
        </p:nvGrpSpPr>
        <p:grpSpPr bwMode="auto">
          <a:xfrm>
            <a:off x="5873750" y="271463"/>
            <a:ext cx="2895600" cy="909638"/>
            <a:chOff x="3700" y="171"/>
            <a:chExt cx="1824" cy="573"/>
          </a:xfrm>
        </p:grpSpPr>
        <p:pic>
          <p:nvPicPr>
            <p:cNvPr id="63543" name="Picture 1079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700" y="171"/>
              <a:ext cx="573" cy="5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535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>
                  <a:solidFill>
                    <a:srgbClr val="FFFFFF"/>
                  </a:solidFill>
                </a:rPr>
                <a:t>Federal Aviation</a:t>
              </a:r>
            </a:p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b="1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6818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57A6894E-AED8-41C8-9AA6-E9EBB3BA5ED2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7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0" name="Rectangle 16"/>
          <p:cNvSpPr>
            <a:spLocks noChangeArrowheads="1"/>
          </p:cNvSpPr>
          <p:nvPr userDrawn="1"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E5C96EC0-0605-4937-B3DB-2E4243CC4628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11" name="Group 25"/>
          <p:cNvGrpSpPr>
            <a:grpSpLocks/>
          </p:cNvGrpSpPr>
          <p:nvPr userDrawn="1"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12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pic>
        <p:nvPicPr>
          <p:cNvPr id="14" name="Picture 8" descr="cover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1071"/>
          <p:cNvSpPr txBox="1">
            <a:spLocks noChangeArrowheads="1"/>
          </p:cNvSpPr>
          <p:nvPr userDrawn="1"/>
        </p:nvSpPr>
        <p:spPr bwMode="ltGray">
          <a:xfrm>
            <a:off x="6692905" y="447679"/>
            <a:ext cx="1962845" cy="5632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</a:rPr>
              <a:t>Federal Aviation</a:t>
            </a:r>
          </a:p>
          <a:p>
            <a:pPr defTabSz="457200" eaLnBrk="1" hangingPunct="1"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</a:rPr>
              <a:t>Administration</a:t>
            </a: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20000"/>
              </a:spcBef>
              <a:defRPr/>
            </a:pPr>
            <a:endParaRPr lang="en-US" sz="2800" b="1" dirty="0">
              <a:solidFill>
                <a:srgbClr val="000000"/>
              </a:solidFill>
              <a:ea typeface="ＭＳ Ｐゴシック" charset="-128"/>
            </a:endParaRPr>
          </a:p>
        </p:txBody>
      </p:sp>
      <p:pic>
        <p:nvPicPr>
          <p:cNvPr id="17" name="Picture 23" descr="transparent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775330" y="184152"/>
            <a:ext cx="974725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706" name="Rectangle 7"/>
          <p:cNvSpPr>
            <a:spLocks noGrp="1" noChangeArrowheads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0707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19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20" name="Rectangle 1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fld id="{4E32E1A2-72CF-4683-9C13-9936715A8EB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3339" y="6248400"/>
            <a:ext cx="1672032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96798" y="6248400"/>
            <a:ext cx="2895600" cy="4572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36504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78D3ABA1-EA94-43C0-B992-7CBCC31144F1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888628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6266C2-23C9-4679-9EA6-D74DA6C8C265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87033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F6FF14-FC6A-41B6-B2DC-884C6B7C3F2E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80018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79F915-29B1-4ADF-B1F4-B9108899500C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040646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7D554-CBC1-41AB-90CF-337CEC897EAA}" type="slidenum">
              <a:rPr lang="en-US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3864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5625866"/>
      </p:ext>
    </p:extLst>
  </p:cSld>
  <p:clrMapOvr>
    <a:masterClrMapping/>
  </p:clrMapOvr>
  <p:transition spd="med"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117485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5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508125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4438151"/>
      </p:ext>
    </p:extLst>
  </p:cSld>
  <p:clrMapOvr>
    <a:masterClrMapping/>
  </p:clrMapOvr>
  <p:transition spd="med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640032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1468702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299835"/>
            <a:ext cx="7772400" cy="1362075"/>
          </a:xfrm>
        </p:spPr>
        <p:txBody>
          <a:bodyPr anchor="t"/>
          <a:lstStyle>
            <a:lvl1pPr algn="ctr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393912"/>
      </p:ext>
    </p:extLst>
  </p:cSld>
  <p:clrMapOvr>
    <a:masterClrMapping/>
  </p:clrMapOvr>
  <p:transition spd="med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05409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076057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4870249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88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99451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2509A-9885-4DBC-AF14-37C26F4A5E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93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7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5" y="1508127"/>
            <a:ext cx="8050213" cy="439102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63C2D-6690-41B4-96DF-46D6E09844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458790-B409-4F14-903A-8FF02172E1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en-US" sz="1100" b="1" i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5" name="Group 12"/>
          <p:cNvGrpSpPr>
            <a:grpSpLocks/>
          </p:cNvGrpSpPr>
          <p:nvPr userDrawn="1"/>
        </p:nvGrpSpPr>
        <p:grpSpPr bwMode="auto">
          <a:xfrm>
            <a:off x="6804028" y="6051560"/>
            <a:ext cx="1971676" cy="614363"/>
            <a:chOff x="3846" y="3866"/>
            <a:chExt cx="1242" cy="387"/>
          </a:xfrm>
        </p:grpSpPr>
        <p:sp>
          <p:nvSpPr>
            <p:cNvPr id="6" name="Text Box 9"/>
            <p:cNvSpPr txBox="1">
              <a:spLocks noChangeArrowheads="1"/>
            </p:cNvSpPr>
            <p:nvPr userDrawn="1"/>
          </p:nvSpPr>
          <p:spPr bwMode="auto">
            <a:xfrm>
              <a:off x="4225" y="3949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  <p:pic>
          <p:nvPicPr>
            <p:cNvPr id="7" name="Picture 10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846" y="3866"/>
              <a:ext cx="386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67500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338139" y="6459548"/>
            <a:ext cx="44275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1200" dirty="0">
                <a:solidFill>
                  <a:srgbClr val="B2B2B2"/>
                </a:solidFill>
                <a:latin typeface="Times New Roman" pitchFamily="18" charset="0"/>
              </a:rPr>
              <a:t>March 15, 2011</a:t>
            </a:r>
          </a:p>
        </p:txBody>
      </p:sp>
      <p:sp>
        <p:nvSpPr>
          <p:cNvPr id="11" name="Text Box 15"/>
          <p:cNvSpPr txBox="1">
            <a:spLocks noChangeArrowheads="1"/>
          </p:cNvSpPr>
          <p:nvPr userDrawn="1"/>
        </p:nvSpPr>
        <p:spPr bwMode="auto">
          <a:xfrm>
            <a:off x="350843" y="6115050"/>
            <a:ext cx="595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  <a:latin typeface="Times New Roman" pitchFamily="18" charset="0"/>
              </a:rPr>
              <a:t>2020</a:t>
            </a:r>
          </a:p>
        </p:txBody>
      </p:sp>
      <p:sp>
        <p:nvSpPr>
          <p:cNvPr id="12" name="Text Box 16"/>
          <p:cNvSpPr txBox="1">
            <a:spLocks noChangeArrowheads="1"/>
          </p:cNvSpPr>
          <p:nvPr userDrawn="1"/>
        </p:nvSpPr>
        <p:spPr bwMode="auto">
          <a:xfrm>
            <a:off x="4471988" y="6200775"/>
            <a:ext cx="771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22925606-0465-4559-8045-BAB6E20F3B85}" type="slidenum">
              <a:rPr lang="en-US" sz="1400">
                <a:solidFill>
                  <a:srgbClr val="FFFFFF"/>
                </a:solidFill>
                <a:latin typeface="Times New Roman" pitchFamily="18" charset="0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F395E8-4939-4263-8CF3-3A90B1D9C8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8804" y="1206501"/>
            <a:ext cx="3948113" cy="4589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313" y="1206501"/>
            <a:ext cx="3949700" cy="4589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7D90B-31BF-4B0E-BC29-EDC2A1EB82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FC6AB-7F8E-4631-91B0-6524CA7F2C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 userDrawn="1"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en-US" sz="1100" b="1" i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6804028" y="6051560"/>
            <a:ext cx="1971676" cy="614363"/>
            <a:chOff x="3846" y="3866"/>
            <a:chExt cx="1242" cy="387"/>
          </a:xfrm>
        </p:grpSpPr>
        <p:sp>
          <p:nvSpPr>
            <p:cNvPr id="5" name="Text Box 9"/>
            <p:cNvSpPr txBox="1">
              <a:spLocks noChangeArrowheads="1"/>
            </p:cNvSpPr>
            <p:nvPr userDrawn="1"/>
          </p:nvSpPr>
          <p:spPr bwMode="auto">
            <a:xfrm>
              <a:off x="4225" y="3949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  <p:pic>
          <p:nvPicPr>
            <p:cNvPr id="6" name="Picture 10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846" y="3866"/>
              <a:ext cx="386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67500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 userDrawn="1"/>
        </p:nvSpPr>
        <p:spPr bwMode="auto">
          <a:xfrm>
            <a:off x="338139" y="6459548"/>
            <a:ext cx="44275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1200" dirty="0">
                <a:solidFill>
                  <a:srgbClr val="B2B2B2"/>
                </a:solidFill>
                <a:latin typeface="Times New Roman" pitchFamily="18" charset="0"/>
              </a:rPr>
              <a:t>March 15, 2011</a:t>
            </a:r>
          </a:p>
        </p:txBody>
      </p:sp>
      <p:sp>
        <p:nvSpPr>
          <p:cNvPr id="9" name="Text Box 15"/>
          <p:cNvSpPr txBox="1">
            <a:spLocks noChangeArrowheads="1"/>
          </p:cNvSpPr>
          <p:nvPr userDrawn="1"/>
        </p:nvSpPr>
        <p:spPr bwMode="auto">
          <a:xfrm>
            <a:off x="350843" y="6115050"/>
            <a:ext cx="595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  <a:latin typeface="Times New Roman" pitchFamily="18" charset="0"/>
              </a:rPr>
              <a:t>2020</a:t>
            </a:r>
          </a:p>
        </p:txBody>
      </p:sp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4471988" y="6200775"/>
            <a:ext cx="771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86701880-BCDC-4A7E-9BF1-8B29B61CE8E6}" type="slidenum">
              <a:rPr lang="en-US" sz="1400">
                <a:solidFill>
                  <a:srgbClr val="FFFFFF"/>
                </a:solidFill>
                <a:latin typeface="Times New Roman" pitchFamily="18" charset="0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49F27-E81A-4E79-882F-D0BD21639D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5EDF10-B8CD-4B6D-8B4D-776F746CA4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D8E053-F3EA-4368-B6AC-8D2A63AA68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7B88AD-AD3C-4C52-8666-EE97D2724E6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BE6764-0481-4047-9248-59B0716853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93" y="436563"/>
            <a:ext cx="2014537" cy="5359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8800" y="436563"/>
            <a:ext cx="5894388" cy="5359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DA957C-8E9F-4497-82E4-AA9613540B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en-US" sz="1100" b="1" i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5" name="Group 12"/>
          <p:cNvGrpSpPr>
            <a:grpSpLocks/>
          </p:cNvGrpSpPr>
          <p:nvPr userDrawn="1"/>
        </p:nvGrpSpPr>
        <p:grpSpPr bwMode="auto">
          <a:xfrm>
            <a:off x="6804028" y="6051560"/>
            <a:ext cx="1971676" cy="614363"/>
            <a:chOff x="3846" y="3866"/>
            <a:chExt cx="1242" cy="387"/>
          </a:xfrm>
        </p:grpSpPr>
        <p:sp>
          <p:nvSpPr>
            <p:cNvPr id="6" name="Text Box 9"/>
            <p:cNvSpPr txBox="1">
              <a:spLocks noChangeArrowheads="1"/>
            </p:cNvSpPr>
            <p:nvPr userDrawn="1"/>
          </p:nvSpPr>
          <p:spPr bwMode="auto">
            <a:xfrm>
              <a:off x="4225" y="3949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  <p:pic>
          <p:nvPicPr>
            <p:cNvPr id="7" name="Picture 10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846" y="3866"/>
              <a:ext cx="386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67500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338139" y="6459548"/>
            <a:ext cx="44275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1200" dirty="0">
                <a:solidFill>
                  <a:srgbClr val="B2B2B2"/>
                </a:solidFill>
                <a:latin typeface="Times New Roman" pitchFamily="18" charset="0"/>
              </a:rPr>
              <a:t>March 15, 2011</a:t>
            </a:r>
          </a:p>
        </p:txBody>
      </p:sp>
      <p:sp>
        <p:nvSpPr>
          <p:cNvPr id="10" name="Text Box 15"/>
          <p:cNvSpPr txBox="1">
            <a:spLocks noChangeArrowheads="1"/>
          </p:cNvSpPr>
          <p:nvPr userDrawn="1"/>
        </p:nvSpPr>
        <p:spPr bwMode="auto">
          <a:xfrm>
            <a:off x="350843" y="6115050"/>
            <a:ext cx="595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  <a:latin typeface="Times New Roman" pitchFamily="18" charset="0"/>
              </a:rPr>
              <a:t>2020</a:t>
            </a:r>
          </a:p>
        </p:txBody>
      </p:sp>
      <p:sp>
        <p:nvSpPr>
          <p:cNvPr id="11" name="Text Box 16"/>
          <p:cNvSpPr txBox="1">
            <a:spLocks noChangeArrowheads="1"/>
          </p:cNvSpPr>
          <p:nvPr userDrawn="1"/>
        </p:nvSpPr>
        <p:spPr bwMode="auto">
          <a:xfrm>
            <a:off x="4471988" y="6200775"/>
            <a:ext cx="771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C8246C17-5A3F-404B-BBC0-46C07B725958}" type="slidenum">
              <a:rPr lang="en-US" sz="1400">
                <a:solidFill>
                  <a:srgbClr val="FFFFFF"/>
                </a:solidFill>
                <a:latin typeface="Times New Roman" pitchFamily="18" charset="0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803" y="436563"/>
            <a:ext cx="8061325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58800" y="1206501"/>
            <a:ext cx="8050213" cy="458946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6036BA06-188B-43B9-BF97-385C8742A56F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7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9" name="Rectangle 12"/>
          <p:cNvSpPr>
            <a:spLocks noChangeArrowheads="1"/>
          </p:cNvSpPr>
          <p:nvPr userDrawn="1"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spcBef>
                <a:spcPct val="50000"/>
              </a:spcBef>
              <a:buFontTx/>
              <a:buChar char="•"/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DD8FC716-3138-41E3-990F-159D76CB49B3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11" name="Group 25"/>
          <p:cNvGrpSpPr>
            <a:grpSpLocks/>
          </p:cNvGrpSpPr>
          <p:nvPr userDrawn="1"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12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pic>
        <p:nvPicPr>
          <p:cNvPr id="14" name="Picture 8" descr="cover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1071"/>
          <p:cNvSpPr txBox="1">
            <a:spLocks noChangeArrowheads="1"/>
          </p:cNvSpPr>
          <p:nvPr userDrawn="1"/>
        </p:nvSpPr>
        <p:spPr bwMode="ltGray">
          <a:xfrm>
            <a:off x="6692905" y="447679"/>
            <a:ext cx="1962845" cy="5632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</a:rPr>
              <a:t>Federal Aviation</a:t>
            </a:r>
          </a:p>
          <a:p>
            <a:pPr defTabSz="457200" eaLnBrk="1" hangingPunct="1"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</a:rPr>
              <a:t>Administration</a:t>
            </a:r>
          </a:p>
        </p:txBody>
      </p: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20000"/>
              </a:spcBef>
              <a:defRPr/>
            </a:pPr>
            <a:endParaRPr lang="en-US" sz="2800" b="1" dirty="0">
              <a:solidFill>
                <a:srgbClr val="000000"/>
              </a:solidFill>
              <a:ea typeface="ＭＳ Ｐゴシック" charset="-128"/>
            </a:endParaRPr>
          </a:p>
        </p:txBody>
      </p:sp>
      <p:pic>
        <p:nvPicPr>
          <p:cNvPr id="17" name="Picture 23" descr="transparent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775330" y="184152"/>
            <a:ext cx="974725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706" name="Rectangle 7"/>
          <p:cNvSpPr>
            <a:spLocks noGrp="1" noChangeArrowheads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0707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19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endParaRPr lang="en-US" dirty="0"/>
          </a:p>
        </p:txBody>
      </p:sp>
      <p:sp>
        <p:nvSpPr>
          <p:cNvPr id="20" name="Rectangle 1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FFFF"/>
                </a:solidFill>
                <a:latin typeface="Times New Roman" pitchFamily="18" charset="0"/>
                <a:ea typeface="ＭＳ Ｐゴシック"/>
                <a:cs typeface="ＭＳ Ｐゴシック"/>
              </a:defRPr>
            </a:lvl1pPr>
          </a:lstStyle>
          <a:p>
            <a:fld id="{1E1E5EA9-D48B-4D86-8D68-9E2CF02EC743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299835"/>
            <a:ext cx="7772400" cy="1362075"/>
          </a:xfrm>
        </p:spPr>
        <p:txBody>
          <a:bodyPr anchor="t"/>
          <a:lstStyle>
            <a:lvl1pPr algn="ctr">
              <a:defRPr sz="400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16306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5C6D5-B429-4708-B50D-8A928F6E64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93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7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6" y="344488"/>
            <a:ext cx="8472488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5305" y="1508127"/>
            <a:ext cx="8050213" cy="439102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D2F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81" descr="sunrise_plane_powerpoint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588001" y="0"/>
            <a:ext cx="355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051"/>
          <p:cNvSpPr txBox="1">
            <a:spLocks noChangeArrowheads="1"/>
          </p:cNvSpPr>
          <p:nvPr userDrawn="1"/>
        </p:nvSpPr>
        <p:spPr bwMode="auto">
          <a:xfrm>
            <a:off x="427040" y="4497388"/>
            <a:ext cx="4822825" cy="168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Presented to:  	NAC Subcommittee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By:		Carey Fagan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		Federal Aviation Administration		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Date:		April 26, 2011</a:t>
            </a:r>
          </a:p>
        </p:txBody>
      </p:sp>
      <p:grpSp>
        <p:nvGrpSpPr>
          <p:cNvPr id="6" name="Group 1080"/>
          <p:cNvGrpSpPr>
            <a:grpSpLocks/>
          </p:cNvGrpSpPr>
          <p:nvPr userDrawn="1"/>
        </p:nvGrpSpPr>
        <p:grpSpPr bwMode="auto">
          <a:xfrm>
            <a:off x="5873761" y="269879"/>
            <a:ext cx="2895601" cy="911225"/>
            <a:chOff x="3700" y="170"/>
            <a:chExt cx="1824" cy="574"/>
          </a:xfrm>
        </p:grpSpPr>
        <p:pic>
          <p:nvPicPr>
            <p:cNvPr id="7" name="Picture 1079" descr="NEW FAA LOGO"/>
            <p:cNvPicPr>
              <a:picLocks noChangeAspect="1" noChangeArrowheads="1"/>
            </p:cNvPicPr>
            <p:nvPr userDrawn="1"/>
          </p:nvPicPr>
          <p:blipFill>
            <a:blip r:embed="rId3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700" y="170"/>
              <a:ext cx="573" cy="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1071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sz="1800" b="1" dirty="0">
                  <a:solidFill>
                    <a:srgbClr val="FFFFFF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sz="18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63490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lect to edit master title</a:t>
            </a:r>
          </a:p>
        </p:txBody>
      </p:sp>
      <p:sp>
        <p:nvSpPr>
          <p:cNvPr id="63491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r">
              <a:defRPr/>
            </a:pPr>
            <a:fld id="{031EC69F-3866-4D9F-96CB-13C5F42B0BA5}" type="slidenum">
              <a:rPr lang="en-US" sz="1200" b="1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</a:endParaRPr>
          </a:p>
        </p:txBody>
      </p:sp>
      <p:grpSp>
        <p:nvGrpSpPr>
          <p:cNvPr id="6" name="Group 25"/>
          <p:cNvGrpSpPr>
            <a:grpSpLocks/>
          </p:cNvGrpSpPr>
          <p:nvPr userDrawn="1"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7" name="Picture 26" descr="NEW FAA LOGO"/>
            <p:cNvPicPr>
              <a:picLocks noChangeAspect="1" noChangeArrowheads="1"/>
            </p:cNvPicPr>
            <p:nvPr userDrawn="1"/>
          </p:nvPicPr>
          <p:blipFill>
            <a:blip r:embed="rId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9" name="Text Box 29"/>
          <p:cNvSpPr txBox="1">
            <a:spLocks noChangeArrowheads="1"/>
          </p:cNvSpPr>
          <p:nvPr userDrawn="1"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</a:rPr>
              <a:t>Brief to NAC Subcommittee – 26 April 2011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80D52C-7BCF-4F94-9990-8880A1E28A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58B3FD-CEC6-4E1D-9A5B-835F1DB3E7F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D4AA0A-5254-41C0-AD46-E6E05DEFC4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D0260C-45A7-4630-94B7-5A3EB31327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1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7FA0C-CB96-42D6-93FC-AF1989FF7AC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267C6-F1E1-4EE2-8D10-92FECEA3223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518A40-EF58-45C7-A3E8-F5190C06A5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3393" y="344488"/>
            <a:ext cx="2117725" cy="5554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7" y="344488"/>
            <a:ext cx="6202363" cy="5554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D2F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sunrise_plane_powerpoin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88001" y="0"/>
            <a:ext cx="355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427040" y="4497398"/>
            <a:ext cx="4822825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Presented to:</a:t>
            </a:r>
          </a:p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By:</a:t>
            </a:r>
          </a:p>
          <a:p>
            <a:pPr>
              <a:spcBef>
                <a:spcPct val="50000"/>
              </a:spcBef>
              <a:defRPr/>
            </a:pPr>
            <a:r>
              <a:rPr lang="en-US" sz="1600" dirty="0">
                <a:solidFill>
                  <a:srgbClr val="FFFFFF"/>
                </a:solidFill>
              </a:rPr>
              <a:t>Date:</a:t>
            </a: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5873761" y="269879"/>
            <a:ext cx="2895601" cy="911225"/>
            <a:chOff x="3700" y="170"/>
            <a:chExt cx="1824" cy="574"/>
          </a:xfrm>
        </p:grpSpPr>
        <p:pic>
          <p:nvPicPr>
            <p:cNvPr id="7" name="Picture 7" descr="NEW FAA LOGO"/>
            <p:cNvPicPr>
              <a:picLocks noChangeAspect="1" noChangeArrowheads="1"/>
            </p:cNvPicPr>
            <p:nvPr userDrawn="1"/>
          </p:nvPicPr>
          <p:blipFill>
            <a:blip r:embed="rId3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700" y="170"/>
              <a:ext cx="573" cy="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 Box 8"/>
            <p:cNvSpPr txBox="1">
              <a:spLocks noChangeArrowheads="1"/>
            </p:cNvSpPr>
            <p:nvPr userDrawn="1"/>
          </p:nvSpPr>
          <p:spPr bwMode="ltGray">
            <a:xfrm>
              <a:off x="4288" y="288"/>
              <a:ext cx="1236" cy="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3389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46088" y="312738"/>
            <a:ext cx="4983162" cy="1395412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Select to edit master title</a:t>
            </a:r>
          </a:p>
        </p:txBody>
      </p:sp>
      <p:sp>
        <p:nvSpPr>
          <p:cNvPr id="3389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49263" y="1754188"/>
            <a:ext cx="4951412" cy="1752600"/>
          </a:xfrm>
        </p:spPr>
        <p:txBody>
          <a:bodyPr/>
          <a:lstStyle>
            <a:lvl1pPr marL="0" indent="0">
              <a:buFontTx/>
              <a:buNone/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Select to edit master subtitle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08127"/>
            <a:ext cx="3948113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5" y="1508127"/>
            <a:ext cx="394970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110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126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33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image" Target="../media/image22.jpeg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image" Target="../media/image22.jpeg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5.xml"/><Relationship Id="rId9" Type="http://schemas.openxmlformats.org/officeDocument/2006/relationships/image" Target="../media/image17.w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73.xml"/><Relationship Id="rId10" Type="http://schemas.openxmlformats.org/officeDocument/2006/relationships/image" Target="../media/image17.wmf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3.jpeg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8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0.jpe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image" Target="../media/image20.jpeg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9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218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5" Type="http://schemas.openxmlformats.org/officeDocument/2006/relationships/image" Target="../media/image20.jpeg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238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5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39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244.xml"/><Relationship Id="rId7" Type="http://schemas.openxmlformats.org/officeDocument/2006/relationships/theme" Target="../theme/theme27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5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image" Target="../media/image30.jpeg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image" Target="../media/image20.jpeg"/><Relationship Id="rId3" Type="http://schemas.openxmlformats.org/officeDocument/2006/relationships/slideLayout" Target="../slideLayouts/slideLayout261.xml"/><Relationship Id="rId7" Type="http://schemas.openxmlformats.org/officeDocument/2006/relationships/slideLayout" Target="../slideLayouts/slideLayout265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63.xml"/><Relationship Id="rId10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theme" Target="../theme/theme30.xml"/><Relationship Id="rId1" Type="http://schemas.openxmlformats.org/officeDocument/2006/relationships/slideLayout" Target="../slideLayouts/slideLayout27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77.xml"/><Relationship Id="rId12" Type="http://schemas.openxmlformats.org/officeDocument/2006/relationships/image" Target="../media/image20.jpeg"/><Relationship Id="rId2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theme" Target="../theme/theme31.xml"/><Relationship Id="rId5" Type="http://schemas.openxmlformats.org/officeDocument/2006/relationships/slideLayout" Target="../slideLayouts/slideLayout275.xml"/><Relationship Id="rId10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283.xml"/><Relationship Id="rId7" Type="http://schemas.openxmlformats.org/officeDocument/2006/relationships/theme" Target="../theme/theme32.xml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84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289.xml"/><Relationship Id="rId7" Type="http://schemas.openxmlformats.org/officeDocument/2006/relationships/theme" Target="../theme/theme33.x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5" Type="http://schemas.openxmlformats.org/officeDocument/2006/relationships/slideLayout" Target="../slideLayouts/slideLayout291.xml"/><Relationship Id="rId4" Type="http://schemas.openxmlformats.org/officeDocument/2006/relationships/slideLayout" Target="../slideLayouts/slideLayout290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image" Target="../media/image32.jpeg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94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05.xml"/><Relationship Id="rId16" Type="http://schemas.openxmlformats.org/officeDocument/2006/relationships/image" Target="../media/image2.gif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13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theme" Target="../theme/theme36.xml"/><Relationship Id="rId1" Type="http://schemas.openxmlformats.org/officeDocument/2006/relationships/slideLayout" Target="../slideLayouts/slideLayout317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theme" Target="../theme/theme37.xml"/><Relationship Id="rId1" Type="http://schemas.openxmlformats.org/officeDocument/2006/relationships/slideLayout" Target="../slideLayouts/slideLayout318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image" Target="../media/image20.jpeg"/><Relationship Id="rId5" Type="http://schemas.openxmlformats.org/officeDocument/2006/relationships/slideLayout" Target="../slideLayouts/slideLayout323.xml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theme" Target="../theme/theme39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4" Type="http://schemas.openxmlformats.org/officeDocument/2006/relationships/image" Target="../media/image2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5.jpe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332.xml"/><Relationship Id="rId7" Type="http://schemas.openxmlformats.org/officeDocument/2006/relationships/theme" Target="../theme/theme40.xml"/><Relationship Id="rId2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333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338.xml"/><Relationship Id="rId7" Type="http://schemas.openxmlformats.org/officeDocument/2006/relationships/theme" Target="../theme/theme41.xml"/><Relationship Id="rId2" Type="http://schemas.openxmlformats.org/officeDocument/2006/relationships/slideLayout" Target="../slideLayouts/slideLayout337.xml"/><Relationship Id="rId1" Type="http://schemas.openxmlformats.org/officeDocument/2006/relationships/slideLayout" Target="../slideLayouts/slideLayout336.xml"/><Relationship Id="rId6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9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13" Type="http://schemas.openxmlformats.org/officeDocument/2006/relationships/image" Target="../media/image33.jpeg"/><Relationship Id="rId3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8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52.xml"/><Relationship Id="rId5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51.xml"/><Relationship Id="rId4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50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slideLayout" Target="../slideLayouts/slideLayout35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354.xml"/><Relationship Id="rId1" Type="http://schemas.openxmlformats.org/officeDocument/2006/relationships/slideLayout" Target="../slideLayouts/slideLayout35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43.xml"/><Relationship Id="rId10" Type="http://schemas.openxmlformats.org/officeDocument/2006/relationships/image" Target="../media/image34.emf"/><Relationship Id="rId4" Type="http://schemas.openxmlformats.org/officeDocument/2006/relationships/slideLayout" Target="../slideLayouts/slideLayout356.xml"/><Relationship Id="rId9" Type="http://schemas.openxmlformats.org/officeDocument/2006/relationships/oleObject" Target="../embeddings/oleObject1.bin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13" Type="http://schemas.openxmlformats.org/officeDocument/2006/relationships/image" Target="../media/image39.jpeg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slideLayout" Target="../slideLayouts/slideLayout367.xml"/><Relationship Id="rId5" Type="http://schemas.openxmlformats.org/officeDocument/2006/relationships/slideLayout" Target="../slideLayouts/slideLayout361.xml"/><Relationship Id="rId15" Type="http://schemas.openxmlformats.org/officeDocument/2006/relationships/image" Target="../media/image40.jpeg"/><Relationship Id="rId10" Type="http://schemas.openxmlformats.org/officeDocument/2006/relationships/slideLayout" Target="../slideLayouts/slideLayout366.xml"/><Relationship Id="rId4" Type="http://schemas.openxmlformats.org/officeDocument/2006/relationships/slideLayout" Target="../slideLayouts/slideLayout360.xml"/><Relationship Id="rId9" Type="http://schemas.openxmlformats.org/officeDocument/2006/relationships/slideLayout" Target="../slideLayouts/slideLayout365.xml"/><Relationship Id="rId14" Type="http://schemas.microsoft.com/office/2007/relationships/hdphoto" Target="../media/hdphoto1.wdp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13" Type="http://schemas.openxmlformats.org/officeDocument/2006/relationships/image" Target="../media/image39.jpeg"/><Relationship Id="rId3" Type="http://schemas.openxmlformats.org/officeDocument/2006/relationships/slideLayout" Target="../slideLayouts/slideLayout370.xml"/><Relationship Id="rId7" Type="http://schemas.openxmlformats.org/officeDocument/2006/relationships/slideLayout" Target="../slideLayouts/slideLayout374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77.xml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Relationship Id="rId14" Type="http://schemas.openxmlformats.org/officeDocument/2006/relationships/image" Target="../media/image40.jpe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slideLayout" Target="../slideLayouts/slideLayout38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79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46.xml"/><Relationship Id="rId10" Type="http://schemas.openxmlformats.org/officeDocument/2006/relationships/image" Target="../media/image34.emf"/><Relationship Id="rId4" Type="http://schemas.openxmlformats.org/officeDocument/2006/relationships/slideLayout" Target="../slideLayouts/slideLayout382.xml"/><Relationship Id="rId9" Type="http://schemas.openxmlformats.org/officeDocument/2006/relationships/oleObject" Target="../embeddings/oleObject7.bin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0.xml"/><Relationship Id="rId13" Type="http://schemas.openxmlformats.org/officeDocument/2006/relationships/image" Target="../media/image43.jpeg"/><Relationship Id="rId3" Type="http://schemas.openxmlformats.org/officeDocument/2006/relationships/slideLayout" Target="../slideLayouts/slideLayout385.xml"/><Relationship Id="rId7" Type="http://schemas.openxmlformats.org/officeDocument/2006/relationships/slideLayout" Target="../slideLayouts/slideLayout389.xml"/><Relationship Id="rId12" Type="http://schemas.openxmlformats.org/officeDocument/2006/relationships/theme" Target="../theme/theme47.xml"/><Relationship Id="rId2" Type="http://schemas.openxmlformats.org/officeDocument/2006/relationships/slideLayout" Target="../slideLayouts/slideLayout384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11" Type="http://schemas.openxmlformats.org/officeDocument/2006/relationships/slideLayout" Target="../slideLayouts/slideLayout393.xml"/><Relationship Id="rId5" Type="http://schemas.openxmlformats.org/officeDocument/2006/relationships/slideLayout" Target="../slideLayouts/slideLayout387.xml"/><Relationship Id="rId10" Type="http://schemas.openxmlformats.org/officeDocument/2006/relationships/slideLayout" Target="../slideLayouts/slideLayout392.xml"/><Relationship Id="rId4" Type="http://schemas.openxmlformats.org/officeDocument/2006/relationships/slideLayout" Target="../slideLayouts/slideLayout386.xml"/><Relationship Id="rId9" Type="http://schemas.openxmlformats.org/officeDocument/2006/relationships/slideLayout" Target="../slideLayouts/slideLayout391.xml"/><Relationship Id="rId14" Type="http://schemas.openxmlformats.org/officeDocument/2006/relationships/image" Target="../media/image44.pn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1.xml"/><Relationship Id="rId13" Type="http://schemas.openxmlformats.org/officeDocument/2006/relationships/slideLayout" Target="../slideLayouts/slideLayout406.xml"/><Relationship Id="rId18" Type="http://schemas.openxmlformats.org/officeDocument/2006/relationships/image" Target="../media/image2.gif"/><Relationship Id="rId3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400.xml"/><Relationship Id="rId12" Type="http://schemas.openxmlformats.org/officeDocument/2006/relationships/slideLayout" Target="../slideLayouts/slideLayout40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95.xml"/><Relationship Id="rId16" Type="http://schemas.openxmlformats.org/officeDocument/2006/relationships/theme" Target="../theme/theme48.xml"/><Relationship Id="rId1" Type="http://schemas.openxmlformats.org/officeDocument/2006/relationships/slideLayout" Target="../slideLayouts/slideLayout394.xml"/><Relationship Id="rId6" Type="http://schemas.openxmlformats.org/officeDocument/2006/relationships/slideLayout" Target="../slideLayouts/slideLayout399.xml"/><Relationship Id="rId11" Type="http://schemas.openxmlformats.org/officeDocument/2006/relationships/slideLayout" Target="../slideLayouts/slideLayout404.xml"/><Relationship Id="rId5" Type="http://schemas.openxmlformats.org/officeDocument/2006/relationships/slideLayout" Target="../slideLayouts/slideLayout398.xml"/><Relationship Id="rId15" Type="http://schemas.openxmlformats.org/officeDocument/2006/relationships/slideLayout" Target="../slideLayouts/slideLayout408.xml"/><Relationship Id="rId10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397.xml"/><Relationship Id="rId9" Type="http://schemas.openxmlformats.org/officeDocument/2006/relationships/slideLayout" Target="../slideLayouts/slideLayout402.xml"/><Relationship Id="rId14" Type="http://schemas.openxmlformats.org/officeDocument/2006/relationships/slideLayout" Target="../slideLayouts/slideLayout407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slideLayout" Target="../slideLayouts/slideLayout421.xml"/><Relationship Id="rId3" Type="http://schemas.openxmlformats.org/officeDocument/2006/relationships/slideLayout" Target="../slideLayouts/slideLayout411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2" Type="http://schemas.openxmlformats.org/officeDocument/2006/relationships/slideLayout" Target="../slideLayouts/slideLayout410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13.xml"/><Relationship Id="rId15" Type="http://schemas.openxmlformats.org/officeDocument/2006/relationships/image" Target="../media/image20.jpeg"/><Relationship Id="rId10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theme" Target="../theme/theme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0.jpeg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47.jpeg"/><Relationship Id="rId3" Type="http://schemas.openxmlformats.org/officeDocument/2006/relationships/slideLayout" Target="../slideLayouts/slideLayout424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46.emf"/><Relationship Id="rId2" Type="http://schemas.openxmlformats.org/officeDocument/2006/relationships/slideLayout" Target="../slideLayouts/slideLayout423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slideLayout" Target="../slideLayouts/slideLayout422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oleObject" Target="../embeddings/oleObject13.bin"/><Relationship Id="rId5" Type="http://schemas.openxmlformats.org/officeDocument/2006/relationships/vmlDrawing" Target="../drawings/vmlDrawing11.v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heme" Target="../theme/theme50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427.xml"/><Relationship Id="rId7" Type="http://schemas.openxmlformats.org/officeDocument/2006/relationships/vmlDrawing" Target="../drawings/vmlDrawing14.vml"/><Relationship Id="rId2" Type="http://schemas.openxmlformats.org/officeDocument/2006/relationships/slideLayout" Target="../slideLayouts/slideLayout426.xml"/><Relationship Id="rId1" Type="http://schemas.openxmlformats.org/officeDocument/2006/relationships/slideLayout" Target="../slideLayouts/slideLayout425.xml"/><Relationship Id="rId6" Type="http://schemas.openxmlformats.org/officeDocument/2006/relationships/theme" Target="../theme/theme51.xml"/><Relationship Id="rId11" Type="http://schemas.openxmlformats.org/officeDocument/2006/relationships/image" Target="../media/image51.jpeg"/><Relationship Id="rId5" Type="http://schemas.openxmlformats.org/officeDocument/2006/relationships/slideLayout" Target="../slideLayouts/slideLayout429.xml"/><Relationship Id="rId10" Type="http://schemas.openxmlformats.org/officeDocument/2006/relationships/image" Target="../media/image50.emf"/><Relationship Id="rId4" Type="http://schemas.openxmlformats.org/officeDocument/2006/relationships/slideLayout" Target="../slideLayouts/slideLayout428.xml"/><Relationship Id="rId9" Type="http://schemas.openxmlformats.org/officeDocument/2006/relationships/oleObject" Target="../embeddings/oleObject16.bin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432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431.xml"/><Relationship Id="rId1" Type="http://schemas.openxmlformats.org/officeDocument/2006/relationships/slideLayout" Target="../slideLayouts/slideLayout430.xml"/><Relationship Id="rId6" Type="http://schemas.openxmlformats.org/officeDocument/2006/relationships/theme" Target="../theme/theme52.xml"/><Relationship Id="rId11" Type="http://schemas.openxmlformats.org/officeDocument/2006/relationships/image" Target="../media/image51.jpeg"/><Relationship Id="rId5" Type="http://schemas.openxmlformats.org/officeDocument/2006/relationships/slideLayout" Target="../slideLayouts/slideLayout434.xml"/><Relationship Id="rId10" Type="http://schemas.openxmlformats.org/officeDocument/2006/relationships/image" Target="../media/image50.emf"/><Relationship Id="rId4" Type="http://schemas.openxmlformats.org/officeDocument/2006/relationships/slideLayout" Target="../slideLayouts/slideLayout433.xml"/><Relationship Id="rId9" Type="http://schemas.openxmlformats.org/officeDocument/2006/relationships/oleObject" Target="../embeddings/oleObject17.bin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37.xml"/><Relationship Id="rId7" Type="http://schemas.openxmlformats.org/officeDocument/2006/relationships/slideLayout" Target="../slideLayouts/slideLayout441.xml"/><Relationship Id="rId12" Type="http://schemas.openxmlformats.org/officeDocument/2006/relationships/theme" Target="../theme/theme53.xml"/><Relationship Id="rId2" Type="http://schemas.openxmlformats.org/officeDocument/2006/relationships/slideLayout" Target="../slideLayouts/slideLayout436.xml"/><Relationship Id="rId1" Type="http://schemas.openxmlformats.org/officeDocument/2006/relationships/slideLayout" Target="../slideLayouts/slideLayout435.xml"/><Relationship Id="rId6" Type="http://schemas.openxmlformats.org/officeDocument/2006/relationships/slideLayout" Target="../slideLayouts/slideLayout440.xml"/><Relationship Id="rId11" Type="http://schemas.openxmlformats.org/officeDocument/2006/relationships/slideLayout" Target="../slideLayouts/slideLayout445.xml"/><Relationship Id="rId5" Type="http://schemas.openxmlformats.org/officeDocument/2006/relationships/slideLayout" Target="../slideLayouts/slideLayout439.xml"/><Relationship Id="rId10" Type="http://schemas.openxmlformats.org/officeDocument/2006/relationships/slideLayout" Target="../slideLayouts/slideLayout444.xml"/><Relationship Id="rId4" Type="http://schemas.openxmlformats.org/officeDocument/2006/relationships/slideLayout" Target="../slideLayouts/slideLayout438.xml"/><Relationship Id="rId9" Type="http://schemas.openxmlformats.org/officeDocument/2006/relationships/slideLayout" Target="../slideLayouts/slideLayout443.xml"/><Relationship Id="rId14" Type="http://schemas.openxmlformats.org/officeDocument/2006/relationships/image" Target="../media/image53.png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3.xml"/><Relationship Id="rId3" Type="http://schemas.openxmlformats.org/officeDocument/2006/relationships/slideLayout" Target="../slideLayouts/slideLayout448.xml"/><Relationship Id="rId7" Type="http://schemas.openxmlformats.org/officeDocument/2006/relationships/slideLayout" Target="../slideLayouts/slideLayout452.xml"/><Relationship Id="rId12" Type="http://schemas.openxmlformats.org/officeDocument/2006/relationships/image" Target="../media/image54.jpeg"/><Relationship Id="rId2" Type="http://schemas.openxmlformats.org/officeDocument/2006/relationships/slideLayout" Target="../slideLayouts/slideLayout447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1" Type="http://schemas.openxmlformats.org/officeDocument/2006/relationships/theme" Target="../theme/theme54.xml"/><Relationship Id="rId5" Type="http://schemas.openxmlformats.org/officeDocument/2006/relationships/slideLayout" Target="../slideLayouts/slideLayout450.xml"/><Relationship Id="rId10" Type="http://schemas.openxmlformats.org/officeDocument/2006/relationships/slideLayout" Target="../slideLayouts/slideLayout455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heme" Target="../theme/theme55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image" Target="../media/image32.jpeg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0.xml"/><Relationship Id="rId7" Type="http://schemas.openxmlformats.org/officeDocument/2006/relationships/slideLayout" Target="../slideLayouts/slideLayout474.xml"/><Relationship Id="rId12" Type="http://schemas.openxmlformats.org/officeDocument/2006/relationships/theme" Target="../theme/theme56.xml"/><Relationship Id="rId2" Type="http://schemas.openxmlformats.org/officeDocument/2006/relationships/slideLayout" Target="../slideLayouts/slideLayout469.xml"/><Relationship Id="rId1" Type="http://schemas.openxmlformats.org/officeDocument/2006/relationships/slideLayout" Target="../slideLayouts/slideLayout468.xml"/><Relationship Id="rId6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2.xml"/><Relationship Id="rId10" Type="http://schemas.openxmlformats.org/officeDocument/2006/relationships/slideLayout" Target="../slideLayouts/slideLayout477.xml"/><Relationship Id="rId4" Type="http://schemas.openxmlformats.org/officeDocument/2006/relationships/slideLayout" Target="../slideLayouts/slideLayout471.xml"/><Relationship Id="rId9" Type="http://schemas.openxmlformats.org/officeDocument/2006/relationships/slideLayout" Target="../slideLayouts/slideLayout476.xml"/><Relationship Id="rId14" Type="http://schemas.openxmlformats.org/officeDocument/2006/relationships/image" Target="../media/image53.png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3" Type="http://schemas.openxmlformats.org/officeDocument/2006/relationships/slideLayout" Target="../slideLayouts/slideLayout481.xml"/><Relationship Id="rId7" Type="http://schemas.openxmlformats.org/officeDocument/2006/relationships/theme" Target="../theme/theme57.xml"/><Relationship Id="rId2" Type="http://schemas.openxmlformats.org/officeDocument/2006/relationships/slideLayout" Target="../slideLayouts/slideLayout480.xml"/><Relationship Id="rId1" Type="http://schemas.openxmlformats.org/officeDocument/2006/relationships/slideLayout" Target="../slideLayouts/slideLayout479.xml"/><Relationship Id="rId6" Type="http://schemas.openxmlformats.org/officeDocument/2006/relationships/slideLayout" Target="../slideLayouts/slideLayout484.xml"/><Relationship Id="rId5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82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image" Target="../media/image54.jpeg"/><Relationship Id="rId2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theme" Target="../theme/theme58.xml"/><Relationship Id="rId5" Type="http://schemas.openxmlformats.org/officeDocument/2006/relationships/slideLayout" Target="../slideLayouts/slideLayout489.xml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0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5.jpe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1"/>
          <p:cNvSpPr txBox="1">
            <a:spLocks noChangeArrowheads="1"/>
          </p:cNvSpPr>
          <p:nvPr/>
        </p:nvSpPr>
        <p:spPr>
          <a:xfrm>
            <a:off x="3429000" y="6354763"/>
            <a:ext cx="5181600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400" i="1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F911D6A-2E1F-418E-A23F-CD631DB839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0" name="Picture 8" descr="RTCA Logo dots only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5080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36" r:id="rId1"/>
    <p:sldLayoutId id="2147484812" r:id="rId2"/>
    <p:sldLayoutId id="2147484811" r:id="rId3"/>
    <p:sldLayoutId id="2147484810" r:id="rId4"/>
    <p:sldLayoutId id="2147484809" r:id="rId5"/>
    <p:sldLayoutId id="2147484808" r:id="rId6"/>
    <p:sldLayoutId id="2147484807" r:id="rId7"/>
    <p:sldLayoutId id="2147484806" r:id="rId8"/>
    <p:sldLayoutId id="2147484805" r:id="rId9"/>
    <p:sldLayoutId id="2147484804" r:id="rId10"/>
    <p:sldLayoutId id="2147484803" r:id="rId11"/>
  </p:sldLayoutIdLst>
  <p:transition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ts val="1200"/>
        </a:spcBef>
        <a:spcAft>
          <a:spcPct val="0"/>
        </a:spcAft>
        <a:buClr>
          <a:srgbClr val="000000"/>
        </a:buClr>
        <a:buSzPct val="60000"/>
        <a:buBlip>
          <a:blip r:embed="rId14"/>
        </a:buBlip>
        <a:defRPr sz="28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ts val="900"/>
        </a:spcBef>
        <a:spcAft>
          <a:spcPct val="0"/>
        </a:spcAft>
        <a:buClr>
          <a:srgbClr val="000000"/>
        </a:buClr>
        <a:buFont typeface="Arial" charset="0"/>
        <a:buChar char="•"/>
        <a:defRPr sz="2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 sz="2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Font typeface="Arial" charset="0"/>
        <a:buChar char="•"/>
        <a:defRPr sz="2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3209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32100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593" y="6248400"/>
            <a:ext cx="17367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575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62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5010558-3F8E-4F5A-9EF6-B67623395C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32104" name="Group 25"/>
          <p:cNvGrpSpPr>
            <a:grpSpLocks/>
          </p:cNvGrpSpPr>
          <p:nvPr/>
        </p:nvGrpSpPr>
        <p:grpSpPr bwMode="auto">
          <a:xfrm>
            <a:off x="5708660" y="6126163"/>
            <a:ext cx="2047877" cy="660400"/>
            <a:chOff x="3596" y="3859"/>
            <a:chExt cx="1290" cy="416"/>
          </a:xfrm>
        </p:grpSpPr>
        <p:pic>
          <p:nvPicPr>
            <p:cNvPr id="132107" name="Picture 26"/>
            <p:cNvPicPr>
              <a:picLocks noChangeAspect="1" noChangeArrowheads="1"/>
            </p:cNvPicPr>
            <p:nvPr userDrawn="1"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/>
        </p:nvSpPr>
        <p:spPr bwMode="auto">
          <a:xfrm>
            <a:off x="449264" y="6205548"/>
            <a:ext cx="4784725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/>
        </p:nvSpPr>
        <p:spPr bwMode="auto">
          <a:xfrm>
            <a:off x="441325" y="6384935"/>
            <a:ext cx="3740150" cy="276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64" r:id="rId1"/>
    <p:sldLayoutId id="2147484965" r:id="rId2"/>
    <p:sldLayoutId id="2147484966" r:id="rId3"/>
    <p:sldLayoutId id="2147484967" r:id="rId4"/>
    <p:sldLayoutId id="2147484968" r:id="rId5"/>
    <p:sldLayoutId id="2147484969" r:id="rId6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4" y="474663"/>
            <a:ext cx="80613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9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8800" y="1206501"/>
            <a:ext cx="8050213" cy="458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77000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dirty="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 dirty="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24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dirty="0">
                <a:solidFill>
                  <a:srgbClr val="000000"/>
                </a:solidFill>
                <a:latin typeface="+mn-lt"/>
                <a:ea typeface="ＭＳ Ｐゴシック" pitchFamily="-84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1" name="Rectangle 15"/>
          <p:cNvSpPr>
            <a:spLocks noChangeArrowheads="1"/>
          </p:cNvSpPr>
          <p:nvPr/>
        </p:nvSpPr>
        <p:spPr bwMode="auto">
          <a:xfrm>
            <a:off x="6889750" y="6324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rPr>
              <a:t>SLIDE </a:t>
            </a:r>
            <a:fld id="{BCD2E178-756A-4393-AD52-32A41096F8E1}" type="slidenum">
              <a:rPr lang="en-US" sz="14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rPr>
              <a:pPr algn="r">
                <a:defRPr/>
              </a:pPr>
              <a:t>‹#›</a:t>
            </a:fld>
            <a:endParaRPr lang="en-US" sz="1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70" r:id="rId1"/>
    <p:sldLayoutId id="2147484971" r:id="rId2"/>
    <p:sldLayoutId id="2147484972" r:id="rId3"/>
    <p:sldLayoutId id="2147484973" r:id="rId4"/>
  </p:sldLayoutIdLst>
  <p:transition>
    <p:wipe dir="r"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+mj-lt"/>
          <a:ea typeface="ＭＳ Ｐゴシック" pitchFamily="-1" charset="-128"/>
          <a:cs typeface="ＭＳ Ｐゴシック" pitchFamily="-1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  <a:ea typeface="ＭＳ Ｐゴシック" pitchFamily="-1" charset="-128"/>
          <a:cs typeface="ＭＳ Ｐゴシック" pitchFamily="-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pitchFamily="-1" charset="-128"/>
          <a:cs typeface="ＭＳ Ｐゴシック" pitchFamily="-1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ＭＳ Ｐゴシック" pitchFamily="-1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  <a:ea typeface="ＭＳ Ｐゴシック" pitchFamily="-1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  <a:ea typeface="ＭＳ Ｐゴシック" pitchFamily="-1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  <a:ea typeface="ＭＳ Ｐゴシック" pitchFamily="-1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438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4438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593" y="6248400"/>
            <a:ext cx="17367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575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62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2F7FC8A-13C5-4A57-8835-1E5E8AAF0D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44392" name="Group 25"/>
          <p:cNvGrpSpPr>
            <a:grpSpLocks/>
          </p:cNvGrpSpPr>
          <p:nvPr/>
        </p:nvGrpSpPr>
        <p:grpSpPr bwMode="auto">
          <a:xfrm>
            <a:off x="5708660" y="6126163"/>
            <a:ext cx="2047877" cy="660400"/>
            <a:chOff x="3596" y="3859"/>
            <a:chExt cx="1290" cy="416"/>
          </a:xfrm>
        </p:grpSpPr>
        <p:pic>
          <p:nvPicPr>
            <p:cNvPr id="144395" name="Picture 26"/>
            <p:cNvPicPr>
              <a:picLocks noChangeAspect="1" noChangeArrowheads="1"/>
            </p:cNvPicPr>
            <p:nvPr userDrawn="1"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6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charset="0"/>
                </a:rPr>
                <a:t>Administration</a:t>
              </a:r>
            </a:p>
          </p:txBody>
        </p:sp>
      </p:grpSp>
      <p:sp>
        <p:nvSpPr>
          <p:cNvPr id="1033" name="Text Box 29" hidden="1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200" b="1" dirty="0">
                <a:solidFill>
                  <a:srgbClr val="C0C0C0"/>
                </a:solidFill>
                <a:cs typeface="Arial" charset="0"/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  <a:cs typeface="Arial" charset="0"/>
            </a:endParaRPr>
          </a:p>
        </p:txBody>
      </p:sp>
      <p:sp>
        <p:nvSpPr>
          <p:cNvPr id="1034" name="Text Box 30" hidden="1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200" dirty="0">
                <a:solidFill>
                  <a:srgbClr val="C0C0C0"/>
                </a:solidFill>
                <a:cs typeface="Arial" charset="0"/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74" r:id="rId1"/>
    <p:sldLayoutId id="2147484975" r:id="rId2"/>
    <p:sldLayoutId id="2147484896" r:id="rId3"/>
    <p:sldLayoutId id="2147484895" r:id="rId4"/>
    <p:sldLayoutId id="2147484894" r:id="rId5"/>
    <p:sldLayoutId id="2147484893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5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5155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593" y="6248400"/>
            <a:ext cx="17367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575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62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572113DA-9808-4478-9479-6BD72BABFC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51560" name="Group 25"/>
          <p:cNvGrpSpPr>
            <a:grpSpLocks/>
          </p:cNvGrpSpPr>
          <p:nvPr/>
        </p:nvGrpSpPr>
        <p:grpSpPr bwMode="auto">
          <a:xfrm>
            <a:off x="5708660" y="6126163"/>
            <a:ext cx="2047877" cy="660400"/>
            <a:chOff x="3596" y="3859"/>
            <a:chExt cx="1290" cy="416"/>
          </a:xfrm>
        </p:grpSpPr>
        <p:pic>
          <p:nvPicPr>
            <p:cNvPr id="151563" name="Picture 26"/>
            <p:cNvPicPr>
              <a:picLocks noChangeAspect="1" noChangeArrowheads="1"/>
            </p:cNvPicPr>
            <p:nvPr userDrawn="1"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6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5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charset="0"/>
                </a:rPr>
                <a:t>Administration</a:t>
              </a:r>
            </a:p>
          </p:txBody>
        </p:sp>
      </p:grpSp>
      <p:sp>
        <p:nvSpPr>
          <p:cNvPr id="1033" name="Text Box 29" hidden="1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200" b="1" dirty="0">
                <a:solidFill>
                  <a:srgbClr val="C0C0C0"/>
                </a:solidFill>
                <a:cs typeface="Arial" charset="0"/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  <a:cs typeface="Arial" charset="0"/>
            </a:endParaRPr>
          </a:p>
        </p:txBody>
      </p:sp>
      <p:sp>
        <p:nvSpPr>
          <p:cNvPr id="1034" name="Text Box 30" hidden="1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200" dirty="0">
                <a:solidFill>
                  <a:srgbClr val="C0C0C0"/>
                </a:solidFill>
                <a:cs typeface="Arial" charset="0"/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76" r:id="rId1"/>
    <p:sldLayoutId id="2147484977" r:id="rId2"/>
    <p:sldLayoutId id="2147484900" r:id="rId3"/>
    <p:sldLayoutId id="2147484899" r:id="rId4"/>
    <p:sldLayoutId id="2147484898" r:id="rId5"/>
    <p:sldLayoutId id="2147484897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87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40138" y="6486525"/>
            <a:ext cx="2133600" cy="2349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900" b="1">
                <a:solidFill>
                  <a:srgbClr val="898989"/>
                </a:solidFill>
                <a:latin typeface="Arial" pitchFamily="34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fld id="{9B3EF362-E8E9-44D2-8F0F-B7CBF8FF4C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06" r:id="rId1"/>
    <p:sldLayoutId id="2147484978" r:id="rId2"/>
    <p:sldLayoutId id="2147484905" r:id="rId3"/>
    <p:sldLayoutId id="2147484904" r:id="rId4"/>
    <p:sldLayoutId id="2147484903" r:id="rId5"/>
    <p:sldLayoutId id="2147484902" r:id="rId6"/>
    <p:sldLayoutId id="2147484901" r:id="rId7"/>
    <p:sldLayoutId id="2147484979" r:id="rId8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17375E"/>
          </a:solidFill>
          <a:latin typeface="Arial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 kern="1200">
          <a:solidFill>
            <a:srgbClr val="7F7F7F"/>
          </a:solidFill>
          <a:latin typeface="Arial"/>
          <a:ea typeface="Arial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 kern="1200">
          <a:solidFill>
            <a:srgbClr val="7F7F7F"/>
          </a:solidFill>
          <a:latin typeface="Arial"/>
          <a:ea typeface="Arial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rgbClr val="7F7F7F"/>
          </a:solidFill>
          <a:latin typeface="Arial"/>
          <a:ea typeface="Arial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rgbClr val="7F7F7F"/>
          </a:solidFill>
          <a:latin typeface="Arial"/>
          <a:ea typeface="Arial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kern="1200">
          <a:solidFill>
            <a:srgbClr val="7F7F7F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7938" name="Picture 2" descr="USAirways Screen 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793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794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fld id="{6EB96BFB-898D-49A9-B61A-60603D42312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17" r:id="rId1"/>
    <p:sldLayoutId id="2147484916" r:id="rId2"/>
    <p:sldLayoutId id="2147484915" r:id="rId3"/>
    <p:sldLayoutId id="2147484914" r:id="rId4"/>
    <p:sldLayoutId id="2147484913" r:id="rId5"/>
    <p:sldLayoutId id="2147484912" r:id="rId6"/>
    <p:sldLayoutId id="2147484911" r:id="rId7"/>
    <p:sldLayoutId id="2147484910" r:id="rId8"/>
    <p:sldLayoutId id="2147484909" r:id="rId9"/>
    <p:sldLayoutId id="2147484908" r:id="rId10"/>
    <p:sldLayoutId id="2147484907" r:id="rId11"/>
  </p:sldLayoutIdLst>
  <p:transition spd="slow"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226" name="Picture 7" descr="USAirways Screen 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02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28600"/>
            <a:ext cx="77724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9"/>
          <p:cNvSpPr>
            <a:spLocks noChangeArrowheads="1"/>
          </p:cNvSpPr>
          <p:nvPr/>
        </p:nvSpPr>
        <p:spPr bwMode="auto">
          <a:xfrm>
            <a:off x="1143000" y="1371600"/>
            <a:ext cx="6858000" cy="41910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anchor="ctr"/>
          <a:lstStyle/>
          <a:p>
            <a:pPr>
              <a:defRPr/>
            </a:pPr>
            <a:endParaRPr lang="en-US" sz="2400" dirty="0">
              <a:solidFill>
                <a:srgbClr val="000000"/>
              </a:solidFill>
              <a:latin typeface="Tahoma"/>
            </a:endParaRPr>
          </a:p>
        </p:txBody>
      </p:sp>
      <p:sp>
        <p:nvSpPr>
          <p:cNvPr id="180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524000"/>
            <a:ext cx="77724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29" r:id="rId1"/>
    <p:sldLayoutId id="2147484928" r:id="rId2"/>
    <p:sldLayoutId id="2147484927" r:id="rId3"/>
    <p:sldLayoutId id="2147484926" r:id="rId4"/>
    <p:sldLayoutId id="2147484925" r:id="rId5"/>
    <p:sldLayoutId id="2147484924" r:id="rId6"/>
    <p:sldLayoutId id="2147484923" r:id="rId7"/>
    <p:sldLayoutId id="2147484922" r:id="rId8"/>
    <p:sldLayoutId id="2147484921" r:id="rId9"/>
    <p:sldLayoutId id="2147484920" r:id="rId10"/>
    <p:sldLayoutId id="2147484919" r:id="rId11"/>
    <p:sldLayoutId id="2147484980" r:id="rId12"/>
    <p:sldLayoutId id="2147484918" r:id="rId13"/>
  </p:sldLayoutIdLst>
  <p:transition spd="slow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94563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94564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593" y="6248400"/>
            <a:ext cx="17367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575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62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fld id="{F9653EBD-E0F5-48CD-BE7F-5381E14DAF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94568" name="Group 25"/>
          <p:cNvGrpSpPr>
            <a:grpSpLocks/>
          </p:cNvGrpSpPr>
          <p:nvPr/>
        </p:nvGrpSpPr>
        <p:grpSpPr bwMode="auto">
          <a:xfrm>
            <a:off x="5708660" y="6126163"/>
            <a:ext cx="2047877" cy="660400"/>
            <a:chOff x="3596" y="3859"/>
            <a:chExt cx="1290" cy="416"/>
          </a:xfrm>
        </p:grpSpPr>
        <p:pic>
          <p:nvPicPr>
            <p:cNvPr id="194571" name="Picture 26"/>
            <p:cNvPicPr>
              <a:picLocks noChangeAspect="1" noChangeArrowheads="1"/>
            </p:cNvPicPr>
            <p:nvPr userDrawn="1"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84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Arial" pitchFamily="34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Arial" pitchFamily="34" charset="0"/>
                </a:rPr>
                <a:t>Administration</a:t>
              </a:r>
            </a:p>
          </p:txBody>
        </p:sp>
      </p:grpSp>
      <p:sp>
        <p:nvSpPr>
          <p:cNvPr id="3081" name="Text Box 29" hidden="1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  <a:ea typeface="ＭＳ Ｐゴシック" charset="-128"/>
                <a:cs typeface="Arial" pitchFamily="34" charset="0"/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  <a:ea typeface="ＭＳ Ｐゴシック" charset="-128"/>
              <a:cs typeface="Arial" pitchFamily="34" charset="0"/>
            </a:endParaRPr>
          </a:p>
        </p:txBody>
      </p:sp>
      <p:sp>
        <p:nvSpPr>
          <p:cNvPr id="3082" name="Text Box 30" hidden="1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dirty="0">
                <a:solidFill>
                  <a:srgbClr val="C0C0C0"/>
                </a:solidFill>
                <a:ea typeface="ＭＳ Ｐゴシック" charset="-128"/>
                <a:cs typeface="Arial" pitchFamily="34" charset="0"/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81" r:id="rId1"/>
    <p:sldLayoutId id="2147484982" r:id="rId2"/>
    <p:sldLayoutId id="2147484983" r:id="rId3"/>
    <p:sldLayoutId id="2147484984" r:id="rId4"/>
    <p:sldLayoutId id="2147484985" r:id="rId5"/>
    <p:sldLayoutId id="2147484986" r:id="rId6"/>
    <p:sldLayoutId id="2147484987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0" y="6026160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377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203780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69113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>
                    <a:lumMod val="65000"/>
                  </a:srgbClr>
                </a:solidFill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fld id="{8FC9966D-9F7B-4EF0-98EF-73A04A422A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03782" name="Group 25"/>
          <p:cNvGrpSpPr>
            <a:grpSpLocks/>
          </p:cNvGrpSpPr>
          <p:nvPr/>
        </p:nvGrpSpPr>
        <p:grpSpPr bwMode="auto">
          <a:xfrm>
            <a:off x="5708660" y="6126163"/>
            <a:ext cx="2047877" cy="660400"/>
            <a:chOff x="3596" y="3859"/>
            <a:chExt cx="1290" cy="416"/>
          </a:xfrm>
        </p:grpSpPr>
        <p:pic>
          <p:nvPicPr>
            <p:cNvPr id="203785" name="Picture 26"/>
            <p:cNvPicPr>
              <a:picLocks noChangeAspect="1" noChangeArrowheads="1"/>
            </p:cNvPicPr>
            <p:nvPr userDrawn="1"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84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cs typeface="Arial" pitchFamily="34" charset="0"/>
                </a:rPr>
                <a:t>Administration</a:t>
              </a:r>
            </a:p>
          </p:txBody>
        </p:sp>
      </p:grpSp>
      <p:sp>
        <p:nvSpPr>
          <p:cNvPr id="3081" name="Text Box 29" hidden="1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  <a:cs typeface="Arial" pitchFamily="34" charset="0"/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  <a:cs typeface="Arial" pitchFamily="34" charset="0"/>
            </a:endParaRPr>
          </a:p>
        </p:txBody>
      </p:sp>
      <p:sp>
        <p:nvSpPr>
          <p:cNvPr id="3082" name="Text Box 30" hidden="1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dirty="0">
                <a:solidFill>
                  <a:srgbClr val="C0C0C0"/>
                </a:solidFill>
                <a:cs typeface="Arial" pitchFamily="34" charset="0"/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89" r:id="rId1"/>
    <p:sldLayoutId id="2147484990" r:id="rId2"/>
    <p:sldLayoutId id="2147484991" r:id="rId3"/>
    <p:sldLayoutId id="2147484992" r:id="rId4"/>
    <p:sldLayoutId id="2147484993" r:id="rId5"/>
    <p:sldLayoutId id="2147484994" r:id="rId6"/>
    <p:sldLayoutId id="2147484997" r:id="rId7"/>
    <p:sldLayoutId id="2147484998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4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0"/>
            <a:ext cx="7315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5043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371600"/>
            <a:ext cx="7315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15044" name="Group 3"/>
          <p:cNvGrpSpPr>
            <a:grpSpLocks/>
          </p:cNvGrpSpPr>
          <p:nvPr/>
        </p:nvGrpSpPr>
        <p:grpSpPr bwMode="auto">
          <a:xfrm>
            <a:off x="228601" y="6477010"/>
            <a:ext cx="3338840" cy="309563"/>
            <a:chOff x="228600" y="6456363"/>
            <a:chExt cx="3338397" cy="309562"/>
          </a:xfrm>
        </p:grpSpPr>
        <p:pic>
          <p:nvPicPr>
            <p:cNvPr id="215045" name="Picture 3" descr="logo for black powerpoint2"/>
            <p:cNvPicPr>
              <a:picLocks noChangeAspect="1" noChangeArrowheads="1"/>
            </p:cNvPicPr>
            <p:nvPr userDrawn="1"/>
          </p:nvPicPr>
          <p:blipFill>
            <a:blip r:embed="rId13"/>
            <a:srcRect r="39648"/>
            <a:stretch>
              <a:fillRect/>
            </a:stretch>
          </p:blipFill>
          <p:spPr bwMode="auto">
            <a:xfrm>
              <a:off x="228600" y="6456363"/>
              <a:ext cx="1931988" cy="309562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3078" name="TextBox 6"/>
            <p:cNvSpPr txBox="1">
              <a:spLocks noChangeArrowheads="1"/>
            </p:cNvSpPr>
            <p:nvPr userDrawn="1"/>
          </p:nvSpPr>
          <p:spPr bwMode="auto">
            <a:xfrm>
              <a:off x="2088903" y="6457951"/>
              <a:ext cx="1478094" cy="30777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defRPr/>
              </a:pPr>
              <a:r>
                <a:rPr lang="en-US" sz="700" dirty="0">
                  <a:solidFill>
                    <a:prstClr val="white"/>
                  </a:solidFill>
                  <a:cs typeface="Arial" charset="0"/>
                </a:rPr>
                <a:t>© 2013 the MITRE Corporation.</a:t>
              </a:r>
            </a:p>
            <a:p>
              <a:pPr eaLnBrk="0" hangingPunct="0">
                <a:defRPr/>
              </a:pPr>
              <a:r>
                <a:rPr lang="en-US" sz="700" dirty="0">
                  <a:solidFill>
                    <a:prstClr val="white"/>
                  </a:solidFill>
                  <a:cs typeface="Arial" charset="0"/>
                </a:rPr>
                <a:t>All Rights Reserved.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99" r:id="rId1"/>
    <p:sldLayoutId id="2147484934" r:id="rId2"/>
    <p:sldLayoutId id="2147484933" r:id="rId3"/>
    <p:sldLayoutId id="2147484932" r:id="rId4"/>
    <p:sldLayoutId id="2147484931" r:id="rId5"/>
    <p:sldLayoutId id="2147485000" r:id="rId6"/>
    <p:sldLayoutId id="2147484930" r:id="rId7"/>
    <p:sldLayoutId id="2147485001" r:id="rId8"/>
    <p:sldLayoutId id="2147485002" r:id="rId9"/>
    <p:sldLayoutId id="2147485003" r:id="rId10"/>
    <p:sldLayoutId id="2147485004" r:id="rId11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lr>
          <a:srgbClr val="FDAA03"/>
        </a:buClr>
        <a:buSzPct val="75000"/>
        <a:buFont typeface="Wingdings" pitchFamily="2" charset="2"/>
        <a:defRPr sz="2400" b="1">
          <a:solidFill>
            <a:schemeClr val="bg1"/>
          </a:solidFill>
          <a:latin typeface="+mn-lt"/>
          <a:ea typeface="+mn-ea"/>
          <a:cs typeface="+mn-cs"/>
        </a:defRPr>
      </a:lvl1pPr>
      <a:lvl2pPr marL="576263" indent="-233363" algn="l" rtl="0" eaLnBrk="0" fontAlgn="base" hangingPunct="0">
        <a:spcBef>
          <a:spcPct val="20000"/>
        </a:spcBef>
        <a:spcAft>
          <a:spcPct val="0"/>
        </a:spcAft>
        <a:buClr>
          <a:srgbClr val="FDAA03"/>
        </a:buClr>
        <a:buFont typeface="Arial" charset="0"/>
        <a:defRPr sz="2000" b="1">
          <a:solidFill>
            <a:schemeClr val="bg1"/>
          </a:solidFill>
          <a:latin typeface="+mn-lt"/>
        </a:defRPr>
      </a:lvl2pPr>
      <a:lvl3pPr marL="914400" indent="-169863" algn="l" rtl="0" eaLnBrk="0" fontAlgn="base" hangingPunct="0">
        <a:spcBef>
          <a:spcPct val="20000"/>
        </a:spcBef>
        <a:spcAft>
          <a:spcPct val="0"/>
        </a:spcAft>
        <a:buClr>
          <a:srgbClr val="FDAA03"/>
        </a:buClr>
        <a:buSzPct val="60000"/>
        <a:buFont typeface="Wingdings" pitchFamily="2" charset="2"/>
        <a:defRPr sz="1600" b="1">
          <a:solidFill>
            <a:schemeClr val="bg1"/>
          </a:solidFill>
          <a:latin typeface="+mn-lt"/>
        </a:defRPr>
      </a:lvl3pPr>
      <a:lvl4pPr marL="1143000" indent="-109538" algn="l" rtl="0" eaLnBrk="0" fontAlgn="base" hangingPunct="0">
        <a:spcBef>
          <a:spcPct val="20000"/>
        </a:spcBef>
        <a:spcAft>
          <a:spcPct val="0"/>
        </a:spcAft>
        <a:buClr>
          <a:srgbClr val="FDAA03"/>
        </a:buClr>
        <a:buFont typeface="Arial" charset="0"/>
        <a:defRPr sz="1400" b="1">
          <a:solidFill>
            <a:schemeClr val="bg1"/>
          </a:solidFill>
          <a:latin typeface="+mn-lt"/>
        </a:defRPr>
      </a:lvl4pPr>
      <a:lvl5pPr marL="1371600" indent="-109538" algn="l" rtl="0" eaLnBrk="0" fontAlgn="base" hangingPunct="0">
        <a:spcBef>
          <a:spcPct val="20000"/>
        </a:spcBef>
        <a:spcAft>
          <a:spcPct val="0"/>
        </a:spcAft>
        <a:buClr>
          <a:srgbClr val="FDAA03"/>
        </a:buClr>
        <a:buSzPct val="50000"/>
        <a:buFont typeface="Wingdings" pitchFamily="2" charset="2"/>
        <a:defRPr sz="1200" b="1">
          <a:solidFill>
            <a:schemeClr val="bg1"/>
          </a:solidFill>
          <a:latin typeface="+mn-lt"/>
        </a:defRPr>
      </a:lvl5pPr>
      <a:lvl6pPr marL="1828800" indent="-109538" algn="l" rtl="0" fontAlgn="base">
        <a:spcBef>
          <a:spcPct val="20000"/>
        </a:spcBef>
        <a:spcAft>
          <a:spcPct val="0"/>
        </a:spcAft>
        <a:buClr>
          <a:srgbClr val="FDAA03"/>
        </a:buClr>
        <a:buSzPct val="50000"/>
        <a:buFont typeface="Wingdings" pitchFamily="2" charset="2"/>
        <a:defRPr sz="1200" b="1">
          <a:solidFill>
            <a:schemeClr val="bg1"/>
          </a:solidFill>
          <a:latin typeface="+mn-lt"/>
        </a:defRPr>
      </a:lvl6pPr>
      <a:lvl7pPr marL="2286000" indent="-109538" algn="l" rtl="0" fontAlgn="base">
        <a:spcBef>
          <a:spcPct val="20000"/>
        </a:spcBef>
        <a:spcAft>
          <a:spcPct val="0"/>
        </a:spcAft>
        <a:buClr>
          <a:srgbClr val="FDAA03"/>
        </a:buClr>
        <a:buSzPct val="50000"/>
        <a:buFont typeface="Wingdings" pitchFamily="2" charset="2"/>
        <a:defRPr sz="1200" b="1">
          <a:solidFill>
            <a:schemeClr val="bg1"/>
          </a:solidFill>
          <a:latin typeface="+mn-lt"/>
        </a:defRPr>
      </a:lvl7pPr>
      <a:lvl8pPr marL="2743200" indent="-109538" algn="l" rtl="0" fontAlgn="base">
        <a:spcBef>
          <a:spcPct val="20000"/>
        </a:spcBef>
        <a:spcAft>
          <a:spcPct val="0"/>
        </a:spcAft>
        <a:buClr>
          <a:srgbClr val="FDAA03"/>
        </a:buClr>
        <a:buSzPct val="50000"/>
        <a:buFont typeface="Wingdings" pitchFamily="2" charset="2"/>
        <a:defRPr sz="1200" b="1">
          <a:solidFill>
            <a:schemeClr val="bg1"/>
          </a:solidFill>
          <a:latin typeface="+mn-lt"/>
        </a:defRPr>
      </a:lvl8pPr>
      <a:lvl9pPr marL="3200400" indent="-109538" algn="l" rtl="0" fontAlgn="base">
        <a:spcBef>
          <a:spcPct val="20000"/>
        </a:spcBef>
        <a:spcAft>
          <a:spcPct val="0"/>
        </a:spcAft>
        <a:buClr>
          <a:srgbClr val="FDAA03"/>
        </a:buClr>
        <a:buSzPct val="50000"/>
        <a:buFont typeface="Wingdings" pitchFamily="2" charset="2"/>
        <a:defRPr sz="1200" b="1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dirty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dirty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0DF7BE7-0118-4FF0-B699-79CBCC36E6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2" r:id="rId2"/>
    <p:sldLayoutId id="2147484821" r:id="rId3"/>
    <p:sldLayoutId id="2147484820" r:id="rId4"/>
    <p:sldLayoutId id="2147484819" r:id="rId5"/>
    <p:sldLayoutId id="2147484818" r:id="rId6"/>
    <p:sldLayoutId id="2147484817" r:id="rId7"/>
    <p:sldLayoutId id="2147484816" r:id="rId8"/>
    <p:sldLayoutId id="2147484815" r:id="rId9"/>
    <p:sldLayoutId id="2147484814" r:id="rId10"/>
    <p:sldLayoutId id="2147484813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73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8305805" y="6381750"/>
            <a:ext cx="709613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2614DEC-44AE-4E26-B456-2452626E90A5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835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8305805" y="6381750"/>
            <a:ext cx="709613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AE3C0B43-52C5-48AC-9EA2-D3DAA2E6DFB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05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560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8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858000" y="649288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Calibri"/>
              </a:defRPr>
            </a:lvl1pPr>
          </a:lstStyle>
          <a:p>
            <a:pPr>
              <a:defRPr/>
            </a:pPr>
            <a:fld id="{BB51E65B-5985-4BA3-BC28-FE731064B7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7F7F7F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29" r:id="rId1"/>
    <p:sldLayoutId id="2147485030" r:id="rId2"/>
    <p:sldLayoutId id="2147485031" r:id="rId3"/>
    <p:sldLayoutId id="2147485032" r:id="rId4"/>
    <p:sldLayoutId id="2147485033" r:id="rId5"/>
    <p:sldLayoutId id="2147485034" r:id="rId6"/>
    <p:sldLayoutId id="2147485035" r:id="rId7"/>
    <p:sldLayoutId id="2147485036" r:id="rId8"/>
    <p:sldLayoutId id="2147485037" r:id="rId9"/>
    <p:sldLayoutId id="2147485038" r:id="rId10"/>
    <p:sldLayoutId id="2147485039" r:id="rId11"/>
    <p:sldLayoutId id="2147485040" r:id="rId12"/>
    <p:sldLayoutId id="2147485041" r:id="rId1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723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8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858000" y="649288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D5F9DF4A-F827-4F30-8D21-42D656E435E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7F7F7F"/>
                </a:solidFill>
                <a:latin typeface="Calibri" pitchFamily="34" charset="0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2" r:id="rId1"/>
    <p:sldLayoutId id="2147485043" r:id="rId2"/>
    <p:sldLayoutId id="2147485044" r:id="rId3"/>
    <p:sldLayoutId id="2147485045" r:id="rId4"/>
    <p:sldLayoutId id="2147485046" r:id="rId5"/>
    <p:sldLayoutId id="2147485047" r:id="rId6"/>
    <p:sldLayoutId id="2147485048" r:id="rId7"/>
    <p:sldLayoutId id="2147485049" r:id="rId8"/>
    <p:sldLayoutId id="2147485050" r:id="rId9"/>
    <p:sldLayoutId id="2147485051" r:id="rId10"/>
    <p:sldLayoutId id="2147485052" r:id="rId11"/>
    <p:sldLayoutId id="2147485053" r:id="rId12"/>
    <p:sldLayoutId id="2147485054" r:id="rId1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57179"/>
            <a:ext cx="822960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969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7158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86525"/>
            <a:ext cx="9144000" cy="2349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900" b="1">
                <a:solidFill>
                  <a:srgbClr val="898989"/>
                </a:solidFill>
                <a:ea typeface="ＭＳ Ｐゴシック"/>
                <a:cs typeface="Arial" charset="0"/>
              </a:defRPr>
            </a:lvl1pPr>
          </a:lstStyle>
          <a:p>
            <a:fld id="{4C5B3B60-2223-4C2C-A598-2960571E6FA2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64" r:id="rId1"/>
    <p:sldLayoutId id="2147485065" r:id="rId2"/>
    <p:sldLayoutId id="2147485066" r:id="rId3"/>
    <p:sldLayoutId id="2147485067" r:id="rId4"/>
    <p:sldLayoutId id="2147485068" r:id="rId5"/>
    <p:sldLayoutId id="2147485069" r:id="rId6"/>
    <p:sldLayoutId id="2147485070" r:id="rId7"/>
    <p:sldLayoutId id="2147485071" r:id="rId8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17375E"/>
          </a:solidFill>
          <a:latin typeface="Arial"/>
          <a:ea typeface="Arial" charset="0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 kern="1200">
          <a:solidFill>
            <a:srgbClr val="7F7F7F"/>
          </a:solidFill>
          <a:latin typeface="Arial"/>
          <a:ea typeface="Arial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 kern="1200">
          <a:solidFill>
            <a:srgbClr val="7F7F7F"/>
          </a:solidFill>
          <a:latin typeface="Arial"/>
          <a:ea typeface="Arial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rgbClr val="7F7F7F"/>
          </a:solidFill>
          <a:latin typeface="Arial"/>
          <a:ea typeface="Arial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rgbClr val="7F7F7F"/>
          </a:solidFill>
          <a:latin typeface="Arial"/>
          <a:ea typeface="Arial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kern="1200">
          <a:solidFill>
            <a:srgbClr val="7F7F7F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70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8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858000" y="649288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pPr defTabSz="457200">
              <a:defRPr/>
            </a:pPr>
            <a:fld id="{94AE4B41-4452-420D-A654-F50C6C58A697}" type="slidenum">
              <a:rPr lang="en-US"/>
              <a:pPr defTabSz="457200"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defRPr>
            </a:lvl1pPr>
          </a:lstStyle>
          <a:p>
            <a:pPr defTabSz="457200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058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7" r:id="rId1"/>
    <p:sldLayoutId id="2147485098" r:id="rId2"/>
    <p:sldLayoutId id="2147485099" r:id="rId3"/>
    <p:sldLayoutId id="2147485100" r:id="rId4"/>
    <p:sldLayoutId id="2147485101" r:id="rId5"/>
    <p:sldLayoutId id="2147485102" r:id="rId6"/>
    <p:sldLayoutId id="2147485103" r:id="rId7"/>
    <p:sldLayoutId id="2147485104" r:id="rId8"/>
    <p:sldLayoutId id="2147485105" r:id="rId9"/>
    <p:sldLayoutId id="2147485106" r:id="rId10"/>
    <p:sldLayoutId id="2147485107" r:id="rId11"/>
    <p:sldLayoutId id="2147485108" r:id="rId12"/>
    <p:sldLayoutId id="2147485109" r:id="rId1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310465" y="6126158"/>
            <a:ext cx="2047877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  <p:extLst>
      <p:ext uri="{BB962C8B-B14F-4D97-AF65-F5344CB8AC3E}">
        <p14:creationId xmlns:p14="http://schemas.microsoft.com/office/powerpoint/2010/main" val="408013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39" r:id="rId3"/>
    <p:sldLayoutId id="2147485140" r:id="rId4"/>
    <p:sldLayoutId id="2147485141" r:id="rId5"/>
    <p:sldLayoutId id="2147485142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16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708660" y="6126158"/>
            <a:ext cx="2047877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  <p:sp>
        <p:nvSpPr>
          <p:cNvPr id="13" name="Footer Placeholder 3"/>
          <p:cNvSpPr>
            <a:spLocks noGrp="1"/>
          </p:cNvSpPr>
          <p:nvPr userDrawn="1"/>
        </p:nvSpPr>
        <p:spPr bwMode="auto">
          <a:xfrm>
            <a:off x="1209326" y="14387"/>
            <a:ext cx="6691090" cy="330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2400" b="1" kern="1200">
                <a:solidFill>
                  <a:srgbClr val="DAA600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rgbClr val="C00000"/>
                </a:solidFill>
              </a:rPr>
              <a:t>DO NOT DISTRIBUTE – for Internal Coordination Use Only</a:t>
            </a:r>
          </a:p>
        </p:txBody>
      </p:sp>
    </p:spTree>
    <p:extLst>
      <p:ext uri="{BB962C8B-B14F-4D97-AF65-F5344CB8AC3E}">
        <p14:creationId xmlns:p14="http://schemas.microsoft.com/office/powerpoint/2010/main" val="12327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0" r:id="rId1"/>
    <p:sldLayoutId id="2147485161" r:id="rId2"/>
    <p:sldLayoutId id="2147485162" r:id="rId3"/>
    <p:sldLayoutId id="2147485163" r:id="rId4"/>
    <p:sldLayoutId id="2147485164" r:id="rId5"/>
    <p:sldLayoutId id="2147485165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Line 2"/>
          <p:cNvSpPr>
            <a:spLocks noChangeShapeType="1"/>
          </p:cNvSpPr>
          <p:nvPr/>
        </p:nvSpPr>
        <p:spPr bwMode="auto">
          <a:xfrm>
            <a:off x="1204913" y="1087438"/>
            <a:ext cx="7640637" cy="0"/>
          </a:xfrm>
          <a:prstGeom prst="line">
            <a:avLst/>
          </a:prstGeom>
          <a:noFill/>
          <a:ln w="28575">
            <a:solidFill>
              <a:srgbClr val="C1DBE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460500" y="584210"/>
            <a:ext cx="7240588" cy="466725"/>
          </a:xfrm>
          <a:prstGeom prst="rect">
            <a:avLst/>
          </a:prstGeom>
          <a:noFill/>
          <a:ln>
            <a:noFill/>
          </a:ln>
          <a:effectLst>
            <a:outerShdw blurRad="63500" dist="38099" dir="2700000" algn="ctr" rotWithShape="0">
              <a:schemeClr val="tx1">
                <a:alpha val="74998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57313" y="1955803"/>
            <a:ext cx="6791325" cy="1603375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  <a:p>
            <a:pPr lvl="2"/>
            <a:r>
              <a:rPr lang="en-US"/>
              <a:t>Click to edit Master text styles</a:t>
            </a:r>
          </a:p>
          <a:p>
            <a:pPr lvl="3"/>
            <a:r>
              <a:rPr lang="en-US"/>
              <a:t>Click to edit Master text styles</a:t>
            </a:r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48513" y="6642100"/>
            <a:ext cx="1905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800" smtClean="0">
                <a:solidFill>
                  <a:srgbClr val="FFFFCC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4427BBB2-5BC8-422E-948D-D288C888EFFA}" type="slidenum">
              <a:rPr lang="en-US">
                <a:ea typeface="ＭＳ Ｐゴシック" pitchFamily="34" charset="-128"/>
              </a:rPr>
              <a:pPr>
                <a:defRPr/>
              </a:pPr>
              <a:t>‹#›</a:t>
            </a:fld>
            <a:endParaRPr lang="en-US" dirty="0">
              <a:ea typeface="ＭＳ Ｐゴシック" pitchFamily="34" charset="-128"/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0" y="6597650"/>
            <a:ext cx="1854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US" altLang="en-US" sz="900" b="0" dirty="0">
                <a:solidFill>
                  <a:srgbClr val="FFFFCC"/>
                </a:solidFill>
                <a:ea typeface="ＭＳ Ｐゴシック" pitchFamily="34" charset="-128"/>
              </a:rPr>
              <a:t>the Boeing Company</a:t>
            </a:r>
          </a:p>
        </p:txBody>
      </p:sp>
      <p:sp>
        <p:nvSpPr>
          <p:cNvPr id="3079" name="Line 7"/>
          <p:cNvSpPr>
            <a:spLocks noChangeShapeType="1"/>
          </p:cNvSpPr>
          <p:nvPr/>
        </p:nvSpPr>
        <p:spPr bwMode="auto">
          <a:xfrm>
            <a:off x="1204913" y="1087438"/>
            <a:ext cx="7640637" cy="0"/>
          </a:xfrm>
          <a:prstGeom prst="line">
            <a:avLst/>
          </a:prstGeom>
          <a:noFill/>
          <a:ln w="28575">
            <a:solidFill>
              <a:srgbClr val="C1DBE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5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1" r:id="rId1"/>
    <p:sldLayoutId id="2147485202" r:id="rId2"/>
    <p:sldLayoutId id="2147485203" r:id="rId3"/>
    <p:sldLayoutId id="2147485204" r:id="rId4"/>
    <p:sldLayoutId id="2147485205" r:id="rId5"/>
    <p:sldLayoutId id="2147485206" r:id="rId6"/>
    <p:sldLayoutId id="2147485207" r:id="rId7"/>
    <p:sldLayoutId id="2147485208" r:id="rId8"/>
    <p:sldLayoutId id="2147485209" r:id="rId9"/>
    <p:sldLayoutId id="2147485210" r:id="rId10"/>
    <p:sldLayoutId id="2147485211" r:id="rId11"/>
  </p:sldLayoutIdLst>
  <p:transition spd="med"/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ＭＳ Ｐゴシック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defTabSz="1309688" rtl="0" eaLnBrk="0" fontAlgn="base" hangingPunct="0">
        <a:lnSpc>
          <a:spcPct val="95000"/>
        </a:lnSpc>
        <a:spcBef>
          <a:spcPct val="30000"/>
        </a:spcBef>
        <a:spcAft>
          <a:spcPct val="30000"/>
        </a:spcAft>
        <a:buClr>
          <a:srgbClr val="C1DBE9"/>
        </a:buClr>
        <a:buChar char="•"/>
        <a:defRPr sz="2400">
          <a:solidFill>
            <a:schemeClr val="bg1"/>
          </a:solidFill>
          <a:latin typeface="+mn-lt"/>
          <a:ea typeface="ＭＳ Ｐゴシック" charset="0"/>
          <a:cs typeface="+mn-cs"/>
        </a:defRPr>
      </a:lvl1pPr>
      <a:lvl2pPr marL="398463" indent="-217488" algn="l" defTabSz="1309688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lr>
          <a:srgbClr val="C1DBE9"/>
        </a:buClr>
        <a:buChar char="–"/>
        <a:defRPr sz="2200">
          <a:solidFill>
            <a:schemeClr val="bg1"/>
          </a:solidFill>
          <a:latin typeface="+mn-lt"/>
          <a:ea typeface="ＭＳ Ｐゴシック" charset="0"/>
        </a:defRPr>
      </a:lvl2pPr>
      <a:lvl3pPr marL="620713" indent="-211138" algn="l" defTabSz="1309688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lr>
          <a:srgbClr val="C1DBE9"/>
        </a:buClr>
        <a:buChar char="–"/>
        <a:defRPr>
          <a:solidFill>
            <a:schemeClr val="bg1"/>
          </a:solidFill>
          <a:latin typeface="+mn-lt"/>
          <a:ea typeface="ＭＳ Ｐゴシック" charset="0"/>
        </a:defRPr>
      </a:lvl3pPr>
      <a:lvl4pPr marL="846138" indent="-211138" algn="l" defTabSz="1309688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  <a:ea typeface="ＭＳ Ｐゴシック" charset="0"/>
        </a:defRPr>
      </a:lvl4pPr>
      <a:lvl5pPr marL="2057400" indent="-228600" algn="l" defTabSz="1309688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bg1"/>
          </a:solidFill>
          <a:latin typeface="+mn-lt"/>
          <a:ea typeface="ＭＳ Ｐゴシック" charset="0"/>
        </a:defRPr>
      </a:lvl5pPr>
      <a:lvl6pPr marL="2514600" indent="-228600" algn="l" defTabSz="1309688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bg1"/>
          </a:solidFill>
          <a:latin typeface="+mn-lt"/>
        </a:defRPr>
      </a:lvl6pPr>
      <a:lvl7pPr marL="2971800" indent="-228600" algn="l" defTabSz="1309688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bg1"/>
          </a:solidFill>
          <a:latin typeface="+mn-lt"/>
        </a:defRPr>
      </a:lvl7pPr>
      <a:lvl8pPr marL="3429000" indent="-228600" algn="l" defTabSz="1309688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bg1"/>
          </a:solidFill>
          <a:latin typeface="+mn-lt"/>
        </a:defRPr>
      </a:lvl8pPr>
      <a:lvl9pPr marL="3886200" indent="-228600" algn="l" defTabSz="1309688" rtl="0" eaLnBrk="0" fontAlgn="base" hangingPunct="0">
        <a:spcBef>
          <a:spcPct val="20000"/>
        </a:spcBef>
        <a:spcAft>
          <a:spcPct val="0"/>
        </a:spcAft>
        <a:buChar char="»"/>
        <a:defRPr sz="24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56882"/>
            <a:ext cx="8229600" cy="61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7171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4096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0" r:id="rId1"/>
    <p:sldLayoutId id="2147485291" r:id="rId2"/>
    <p:sldLayoutId id="2147485292" r:id="rId3"/>
    <p:sldLayoutId id="2147485293" r:id="rId4"/>
    <p:sldLayoutId id="2147485294" r:id="rId5"/>
    <p:sldLayoutId id="2147485295" r:id="rId6"/>
    <p:sldLayoutId id="2147485296" r:id="rId7"/>
    <p:sldLayoutId id="2147485297" r:id="rId8"/>
    <p:sldLayoutId id="2147485298" r:id="rId9"/>
    <p:sldLayoutId id="2147485299" r:id="rId10"/>
    <p:sldLayoutId id="2147485300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17375E"/>
          </a:solidFill>
          <a:latin typeface="Arial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ea typeface="Arial" charset="0"/>
          <a:cs typeface="Arial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 kern="1200">
          <a:solidFill>
            <a:srgbClr val="7F7F7F"/>
          </a:solidFill>
          <a:latin typeface="Arial"/>
          <a:ea typeface="Arial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 kern="1200">
          <a:solidFill>
            <a:srgbClr val="7F7F7F"/>
          </a:solidFill>
          <a:latin typeface="Arial"/>
          <a:ea typeface="Arial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rgbClr val="7F7F7F"/>
          </a:solidFill>
          <a:latin typeface="Arial"/>
          <a:ea typeface="Arial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rgbClr val="7F7F7F"/>
          </a:solidFill>
          <a:latin typeface="Arial"/>
          <a:ea typeface="Arial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kern="1200">
          <a:solidFill>
            <a:srgbClr val="7F7F7F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163513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098550"/>
            <a:ext cx="8050213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293" name="Text Box 5"/>
          <p:cNvSpPr txBox="1">
            <a:spLocks noChangeArrowheads="1"/>
          </p:cNvSpPr>
          <p:nvPr/>
        </p:nvSpPr>
        <p:spPr bwMode="white">
          <a:xfrm>
            <a:off x="449264" y="6205548"/>
            <a:ext cx="4784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457200">
              <a:spcBef>
                <a:spcPct val="50000"/>
              </a:spcBef>
              <a:defRPr/>
            </a:pPr>
            <a:r>
              <a:rPr lang="en-US" sz="1200" dirty="0">
                <a:solidFill>
                  <a:srgbClr val="FFFFFF"/>
                </a:solidFill>
                <a:ea typeface="ＭＳ Ｐゴシック" pitchFamily="-110" charset="-128"/>
              </a:rPr>
              <a:t>NextGen Advisory Committee</a:t>
            </a:r>
          </a:p>
        </p:txBody>
      </p:sp>
      <p:sp>
        <p:nvSpPr>
          <p:cNvPr id="12294" name="Rectangle 6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defTabSz="457200">
              <a:defRPr/>
            </a:pPr>
            <a:fld id="{8FDACF7E-561E-467A-81AB-371B28A43449}" type="slidenum">
              <a:rPr lang="en-US" sz="1200" b="1">
                <a:solidFill>
                  <a:srgbClr val="FFFFFF"/>
                </a:solidFill>
                <a:latin typeface="Arial" pitchFamily="34" charset="0"/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Arial" pitchFamily="34" charset="0"/>
              <a:ea typeface="ＭＳ Ｐゴシック" charset="-128"/>
            </a:endParaRPr>
          </a:p>
        </p:txBody>
      </p:sp>
      <p:grpSp>
        <p:nvGrpSpPr>
          <p:cNvPr id="25607" name="Group 7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25609" name="Picture 8" descr="NEW FAA LOGO"/>
            <p:cNvPicPr>
              <a:picLocks noChangeAspect="1" noChangeArrowheads="1"/>
            </p:cNvPicPr>
            <p:nvPr userDrawn="1"/>
          </p:nvPicPr>
          <p:blipFill>
            <a:blip r:embed="rId15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297" name="Text Box 9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Federal Aviation</a:t>
              </a:r>
            </a:p>
            <a:p>
              <a:pPr defTabSz="457200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  <a:ea typeface="ＭＳ Ｐゴシック" charset="-128"/>
                  <a:cs typeface="ＭＳ Ｐゴシック" charset="-128"/>
                </a:rPr>
                <a:t>Administration</a:t>
              </a:r>
            </a:p>
          </p:txBody>
        </p:sp>
      </p:grpSp>
      <p:sp>
        <p:nvSpPr>
          <p:cNvPr id="12298" name="Text Box 10"/>
          <p:cNvSpPr txBox="1">
            <a:spLocks noChangeArrowheads="1"/>
          </p:cNvSpPr>
          <p:nvPr/>
        </p:nvSpPr>
        <p:spPr bwMode="white">
          <a:xfrm>
            <a:off x="442916" y="6473825"/>
            <a:ext cx="47847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457200">
              <a:spcBef>
                <a:spcPct val="50000"/>
              </a:spcBef>
              <a:defRPr/>
            </a:pPr>
            <a:r>
              <a:rPr lang="en-US" sz="1200" dirty="0">
                <a:solidFill>
                  <a:srgbClr val="FFFFFF"/>
                </a:solidFill>
                <a:ea typeface="ＭＳ Ｐゴシック" pitchFamily="-110" charset="-128"/>
              </a:rPr>
              <a:t>December 7, 2010</a:t>
            </a:r>
            <a:endParaRPr lang="en-US" sz="1200" b="1" dirty="0">
              <a:solidFill>
                <a:srgbClr val="FFFFFF"/>
              </a:solidFill>
              <a:ea typeface="ＭＳ Ｐゴシック" pitchFamily="-110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37" r:id="rId1"/>
    <p:sldLayoutId id="2147484835" r:id="rId2"/>
    <p:sldLayoutId id="2147484834" r:id="rId3"/>
    <p:sldLayoutId id="2147484833" r:id="rId4"/>
    <p:sldLayoutId id="2147484832" r:id="rId5"/>
    <p:sldLayoutId id="2147484831" r:id="rId6"/>
    <p:sldLayoutId id="2147484830" r:id="rId7"/>
    <p:sldLayoutId id="2147484829" r:id="rId8"/>
    <p:sldLayoutId id="2147484828" r:id="rId9"/>
    <p:sldLayoutId id="2147484827" r:id="rId10"/>
    <p:sldLayoutId id="2147484826" r:id="rId11"/>
    <p:sldLayoutId id="2147484825" r:id="rId12"/>
    <p:sldLayoutId id="2147484824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+mj-lt"/>
          <a:ea typeface="ＭＳ Ｐゴシック" pitchFamily="-65" charset="-128"/>
          <a:cs typeface="ＭＳ Ｐゴシック" pitchFamily="-65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ＭＳ Ｐゴシック" pitchFamily="-65" charset="-128"/>
          <a:cs typeface="ＭＳ Ｐゴシック" pitchFamily="-65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8305800" y="6381750"/>
            <a:ext cx="709613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D2E5290D-8795-4066-906C-348F798FEB34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03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  <a:ea typeface="ＭＳ Ｐゴシック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9D01A86-1220-4E3B-A76F-2CAE376CD0EF}" type="slidenum">
              <a:rPr lang="en-US" smtClean="0">
                <a:solidFill>
                  <a:prstClr val="black"/>
                </a:solidFill>
                <a:latin typeface="Calibri"/>
                <a:ea typeface="ＭＳ Ｐゴシック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latin typeface="Calibri"/>
              <a:ea typeface="ＭＳ Ｐゴシック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Calibri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980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60" r:id="rId2"/>
    <p:sldLayoutId id="2147485361" r:id="rId3"/>
    <p:sldLayoutId id="2147485362" r:id="rId4"/>
    <p:sldLayoutId id="2147485363" r:id="rId5"/>
    <p:sldLayoutId id="2147485364" r:id="rId6"/>
    <p:sldLayoutId id="2147485365" r:id="rId7"/>
    <p:sldLayoutId id="2147485366" r:id="rId8"/>
    <p:sldLayoutId id="2147485367" r:id="rId9"/>
    <p:sldLayoutId id="2147485368" r:id="rId10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800"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54899" y="6248400"/>
            <a:ext cx="110126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297012" y="6097937"/>
            <a:ext cx="1842339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3" y="620553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  <p:extLst>
      <p:ext uri="{BB962C8B-B14F-4D97-AF65-F5344CB8AC3E}">
        <p14:creationId xmlns:p14="http://schemas.microsoft.com/office/powerpoint/2010/main" val="243182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0" r:id="rId1"/>
    <p:sldLayoutId id="2147485371" r:id="rId2"/>
    <p:sldLayoutId id="2147485372" r:id="rId3"/>
    <p:sldLayoutId id="2147485373" r:id="rId4"/>
    <p:sldLayoutId id="2147485374" r:id="rId5"/>
    <p:sldLayoutId id="2147485375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708650" y="6126158"/>
            <a:ext cx="2047875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3" y="620553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  <p:sp>
        <p:nvSpPr>
          <p:cNvPr id="14" name="Rectangle 8"/>
          <p:cNvSpPr>
            <a:spLocks noChangeArrowheads="1"/>
          </p:cNvSpPr>
          <p:nvPr userDrawn="1"/>
        </p:nvSpPr>
        <p:spPr bwMode="auto">
          <a:xfrm>
            <a:off x="6940551" y="630555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spcBef>
                <a:spcPct val="0"/>
              </a:spcBef>
              <a:buFontTx/>
              <a:buNone/>
            </a:pPr>
            <a:fld id="{ED7F4134-1BB7-4D3A-AF23-F3FECDD6AED1}" type="slidenum">
              <a:rPr lang="en-US" sz="900" b="1" smtClean="0">
                <a:solidFill>
                  <a:srgbClr val="FFFFFF"/>
                </a:solidFill>
              </a:rPr>
              <a:pPr algn="r">
                <a:spcBef>
                  <a:spcPct val="0"/>
                </a:spcBef>
                <a:buFontTx/>
                <a:buNone/>
              </a:pPr>
              <a:t>‹#›</a:t>
            </a:fld>
            <a:endParaRPr lang="en-US" sz="9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7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8" r:id="rId1"/>
    <p:sldLayoutId id="2147485409" r:id="rId2"/>
    <p:sldLayoutId id="2147485410" r:id="rId3"/>
    <p:sldLayoutId id="2147485411" r:id="rId4"/>
    <p:sldLayoutId id="2147485412" r:id="rId5"/>
    <p:sldLayoutId id="2147485413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smtClean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84D25364-27E0-4BBE-B128-3F15C996DC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1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32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spcBef>
                <a:spcPct val="0"/>
              </a:spcBef>
              <a:buFontTx/>
              <a:buNone/>
            </a:pPr>
            <a:fld id="{ED49FE38-E48E-4AC4-9C1E-7677176FECFA}" type="slidenum">
              <a:rPr lang="en-US" sz="1200" b="1">
                <a:solidFill>
                  <a:schemeClr val="bg1"/>
                </a:solidFill>
              </a:rPr>
              <a:pPr algn="r">
                <a:spcBef>
                  <a:spcPct val="0"/>
                </a:spcBef>
                <a:buFontTx/>
                <a:buNone/>
              </a:pPr>
              <a:t>‹#›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1033" name="Group 25"/>
          <p:cNvGrpSpPr>
            <a:grpSpLocks/>
          </p:cNvGrpSpPr>
          <p:nvPr/>
        </p:nvGrpSpPr>
        <p:grpSpPr bwMode="auto">
          <a:xfrm>
            <a:off x="5708650" y="6124575"/>
            <a:ext cx="2047875" cy="661988"/>
            <a:chOff x="3596" y="3858"/>
            <a:chExt cx="1290" cy="417"/>
          </a:xfrm>
        </p:grpSpPr>
        <p:pic>
          <p:nvPicPr>
            <p:cNvPr id="1036" name="Picture 26" descr="NEW FAA LOGO"/>
            <p:cNvPicPr>
              <a:picLocks noChangeAspect="1" noChangeArrowheads="1"/>
            </p:cNvPicPr>
            <p:nvPr userDrawn="1"/>
          </p:nvPicPr>
          <p:blipFill>
            <a:blip r:embed="rId13" cstate="print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Administ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9562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5" r:id="rId1"/>
    <p:sldLayoutId id="2147485416" r:id="rId2"/>
    <p:sldLayoutId id="2147485417" r:id="rId3"/>
    <p:sldLayoutId id="2147485418" r:id="rId4"/>
    <p:sldLayoutId id="2147485419" r:id="rId5"/>
    <p:sldLayoutId id="2147485420" r:id="rId6"/>
    <p:sldLayoutId id="2147485421" r:id="rId7"/>
    <p:sldLayoutId id="2147485422" r:id="rId8"/>
    <p:sldLayoutId id="2147485423" r:id="rId9"/>
    <p:sldLayoutId id="2147485424" r:id="rId10"/>
    <p:sldLayoutId id="214748542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1"/>
          <p:cNvSpPr txBox="1">
            <a:spLocks noChangeArrowheads="1"/>
          </p:cNvSpPr>
          <p:nvPr/>
        </p:nvSpPr>
        <p:spPr>
          <a:xfrm>
            <a:off x="3429000" y="6354763"/>
            <a:ext cx="5181600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400" i="1" baseline="0">
                <a:solidFill>
                  <a:schemeClr val="tx2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FE5414-5A15-4A0D-B325-6716E266CBF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RTCA Logo dots only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0" y="0"/>
            <a:ext cx="507604" cy="50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694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  <p:sldLayoutId id="2147485431" r:id="rId5"/>
    <p:sldLayoutId id="2147485432" r:id="rId6"/>
    <p:sldLayoutId id="2147485433" r:id="rId7"/>
    <p:sldLayoutId id="2147485434" r:id="rId8"/>
    <p:sldLayoutId id="2147485435" r:id="rId9"/>
    <p:sldLayoutId id="2147485436" r:id="rId10"/>
    <p:sldLayoutId id="2147485437" r:id="rId11"/>
    <p:sldLayoutId id="2147485438" r:id="rId12"/>
    <p:sldLayoutId id="2147485439" r:id="rId13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0000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2C5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2C5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2C5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2C5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1" fontAlgn="base" hangingPunct="1">
        <a:spcBef>
          <a:spcPts val="1200"/>
        </a:spcBef>
        <a:spcAft>
          <a:spcPct val="0"/>
        </a:spcAft>
        <a:buClr>
          <a:srgbClr val="000000"/>
        </a:buClr>
        <a:buSzPct val="60000"/>
        <a:buFontTx/>
        <a:buBlip>
          <a:blip r:embed="rId16"/>
        </a:buBlip>
        <a:defRPr sz="28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900"/>
        </a:spcBef>
        <a:spcAft>
          <a:spcPct val="0"/>
        </a:spcAft>
        <a:buClr>
          <a:srgbClr val="000000"/>
        </a:buClr>
        <a:buFont typeface="Arial" pitchFamily="34" charset="0"/>
        <a:buChar char="•"/>
        <a:defRPr sz="2400">
          <a:solidFill>
            <a:srgbClr val="000000"/>
          </a:solidFill>
          <a:latin typeface="+mn-lt"/>
        </a:defRPr>
      </a:lvl2pPr>
      <a:lvl3pPr marL="1143000" indent="-228600" algn="l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60000"/>
        <a:buFont typeface="Arial" pitchFamily="34" charset="0"/>
        <a:buChar char="•"/>
        <a:defRPr sz="2200">
          <a:solidFill>
            <a:srgbClr val="000000"/>
          </a:solidFill>
          <a:latin typeface="+mn-lt"/>
        </a:defRPr>
      </a:lvl3pPr>
      <a:lvl4pPr marL="1600200" indent="-228600" algn="l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Font typeface="Arial" pitchFamily="34" charset="0"/>
        <a:buChar char="•"/>
        <a:defRPr sz="2000">
          <a:solidFill>
            <a:srgbClr val="000000"/>
          </a:solidFill>
          <a:latin typeface="+mn-lt"/>
        </a:defRPr>
      </a:lvl4pPr>
      <a:lvl5pPr marL="2057400" indent="-228600" algn="l" rtl="0" eaLnBrk="1" fontAlgn="base" hangingPunct="1">
        <a:spcBef>
          <a:spcPts val="300"/>
        </a:spcBef>
        <a:spcAft>
          <a:spcPct val="0"/>
        </a:spcAft>
        <a:buClr>
          <a:srgbClr val="000000"/>
        </a:buClr>
        <a:buSzPct val="60000"/>
        <a:buFont typeface="Arial" pitchFamily="34" charset="0"/>
        <a:buChar char="•"/>
        <a:defRPr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2F0585B-56D4-4AA2-8BEB-3EE316BE7CA1}" type="slidenum">
              <a:rPr lang="en-US" smtClean="0"/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14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9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2F0585B-56D4-4AA2-8BEB-3EE316BE7CA1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4691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9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fld id="{FEB8912D-2A56-4EED-97FF-0243F7120C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0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3" r:id="rId1"/>
    <p:sldLayoutId id="2147485554" r:id="rId2"/>
    <p:sldLayoutId id="2147485555" r:id="rId3"/>
    <p:sldLayoutId id="2147485556" r:id="rId4"/>
    <p:sldLayoutId id="2147485557" r:id="rId5"/>
    <p:sldLayoutId id="2147485558" r:id="rId6"/>
    <p:sldLayoutId id="2147485559" r:id="rId7"/>
    <p:sldLayoutId id="2147485560" r:id="rId8"/>
    <p:sldLayoutId id="2147485561" r:id="rId9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8305800" y="6381750"/>
            <a:ext cx="709551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600" b="0" kern="1200">
                <a:solidFill>
                  <a:srgbClr val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2F0585B-56D4-4AA2-8BEB-3EE316BE7CA1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461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1" r:id="rId1"/>
    <p:sldLayoutId id="2147485593" r:id="rId2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pitchFamily="34" charset="0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5pPr>
      <a:lvl6pPr marL="4572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800">
          <a:solidFill>
            <a:srgbClr val="7F7F7F"/>
          </a:solidFill>
          <a:latin typeface="Arial" pitchFamily="34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2400">
          <a:solidFill>
            <a:srgbClr val="7F7F7F"/>
          </a:solidFill>
          <a:latin typeface="Arial" pitchFamily="34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>
          <a:solidFill>
            <a:srgbClr val="7F7F7F"/>
          </a:solidFill>
          <a:latin typeface="Arial" pitchFamily="34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>
          <a:solidFill>
            <a:srgbClr val="7F7F7F"/>
          </a:solidFill>
          <a:latin typeface="Arial" pitchFamily="34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Arial" pitchFamily="34" charset="0"/>
          <a:cs typeface="+mn-cs"/>
        </a:defRPr>
      </a:lvl5pPr>
      <a:lvl6pPr marL="25146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6pPr>
      <a:lvl7pPr marL="29718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7pPr>
      <a:lvl8pPr marL="3429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8pPr>
      <a:lvl9pPr marL="3886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>
          <a:solidFill>
            <a:srgbClr val="7F7F7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0"/>
            <a:ext cx="9144000" cy="6851650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6345" name="Text Box 25"/>
          <p:cNvSpPr txBox="1">
            <a:spLocks noChangeArrowheads="1"/>
          </p:cNvSpPr>
          <p:nvPr/>
        </p:nvSpPr>
        <p:spPr bwMode="auto">
          <a:xfrm>
            <a:off x="6386513" y="6265873"/>
            <a:ext cx="1370696" cy="406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en-US" sz="1200" b="1" dirty="0">
                <a:solidFill>
                  <a:srgbClr val="FFFFFF"/>
                </a:solidFill>
              </a:rPr>
              <a:t>Federal Aviation</a:t>
            </a:r>
          </a:p>
          <a:p>
            <a:pPr>
              <a:lnSpc>
                <a:spcPct val="85000"/>
              </a:lnSpc>
              <a:defRPr/>
            </a:pPr>
            <a:r>
              <a:rPr lang="en-US" sz="1200" b="1" dirty="0">
                <a:solidFill>
                  <a:srgbClr val="FFFFFF"/>
                </a:solidFill>
              </a:rPr>
              <a:t>Administration</a:t>
            </a:r>
          </a:p>
        </p:txBody>
      </p:sp>
      <p:sp>
        <p:nvSpPr>
          <p:cNvPr id="39940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00050" y="373063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39941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37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fld id="{7212BEF3-F5AF-4D2E-865E-FE0212EF6C32}" type="slidenum">
              <a:rPr lang="en-US" sz="1200" b="1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56339" name="Line 19"/>
          <p:cNvSpPr>
            <a:spLocks noChangeShapeType="1"/>
          </p:cNvSpPr>
          <p:nvPr/>
        </p:nvSpPr>
        <p:spPr bwMode="auto">
          <a:xfrm>
            <a:off x="0" y="6037263"/>
            <a:ext cx="9144000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56349" name="Text Box 29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</a:rPr>
              <a:t>NSAAP Briefing</a:t>
            </a:r>
            <a:endParaRPr lang="en-US" sz="1200" dirty="0">
              <a:solidFill>
                <a:srgbClr val="C0C0C0"/>
              </a:solidFill>
            </a:endParaRPr>
          </a:p>
        </p:txBody>
      </p:sp>
      <p:pic>
        <p:nvPicPr>
          <p:cNvPr id="39945" name="Picture 32" descr="NEW FAA LOGO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DF1F06"/>
              </a:clrFrom>
              <a:clrTo>
                <a:srgbClr val="DF1F06">
                  <a:alpha val="0"/>
                </a:srgbClr>
              </a:clrTo>
            </a:clrChange>
          </a:blip>
          <a:srcRect l="14333" t="3734" r="14973" b="4564"/>
          <a:stretch>
            <a:fillRect/>
          </a:stretch>
        </p:blipFill>
        <p:spPr bwMode="auto">
          <a:xfrm>
            <a:off x="5708652" y="6124575"/>
            <a:ext cx="660400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38" r:id="rId1"/>
    <p:sldLayoutId id="2147484846" r:id="rId2"/>
    <p:sldLayoutId id="2147484845" r:id="rId3"/>
    <p:sldLayoutId id="2147484844" r:id="rId4"/>
    <p:sldLayoutId id="2147484843" r:id="rId5"/>
    <p:sldLayoutId id="2147484842" r:id="rId6"/>
    <p:sldLayoutId id="2147484841" r:id="rId7"/>
    <p:sldLayoutId id="2147484840" r:id="rId8"/>
    <p:sldLayoutId id="2147484839" r:id="rId9"/>
    <p:sldLayoutId id="2147484838" r:id="rId10"/>
    <p:sldLayoutId id="2147484837" r:id="rId11"/>
    <p:sldLayoutId id="214748483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bg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>
              <a:spcBef>
                <a:spcPct val="50000"/>
              </a:spcBef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pPr defTabSz="914400"/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pPr defTabSz="914400"/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pPr defTabSz="914400"/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310456" y="6126158"/>
            <a:ext cx="2047875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defTabSz="914400"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914400">
                <a:lnSpc>
                  <a:spcPct val="85000"/>
                </a:lnSpc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3" y="620553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  <p:extLst>
      <p:ext uri="{BB962C8B-B14F-4D97-AF65-F5344CB8AC3E}">
        <p14:creationId xmlns:p14="http://schemas.microsoft.com/office/powerpoint/2010/main" val="209592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08" r:id="rId1"/>
    <p:sldLayoutId id="2147485609" r:id="rId2"/>
    <p:sldLayoutId id="2147485610" r:id="rId3"/>
    <p:sldLayoutId id="2147485611" r:id="rId4"/>
    <p:sldLayoutId id="2147485612" r:id="rId5"/>
    <p:sldLayoutId id="2147485613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426053" y="6248400"/>
            <a:ext cx="11301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chemeClr val="bg1">
                    <a:lumMod val="65000"/>
                  </a:schemeClr>
                </a:solidFill>
                <a:latin typeface="Helvetica Neue Medium"/>
                <a:cs typeface="Helvetica Neue Medium"/>
              </a:defRPr>
            </a:lvl1pPr>
          </a:lstStyle>
          <a:p>
            <a:fld id="{74438B1A-AF1B-4C8B-993E-1BADE62A2451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310456" y="6126158"/>
            <a:ext cx="2047875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spcBef>
                  <a:spcPct val="0"/>
                </a:spcBef>
                <a:buFontTx/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3" y="620553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FontTx/>
              <a:buNone/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  <p:extLst>
      <p:ext uri="{BB962C8B-B14F-4D97-AF65-F5344CB8AC3E}">
        <p14:creationId xmlns:p14="http://schemas.microsoft.com/office/powerpoint/2010/main" val="381477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73" r:id="rId1"/>
    <p:sldLayoutId id="2147485674" r:id="rId2"/>
    <p:sldLayoutId id="2147485675" r:id="rId3"/>
    <p:sldLayoutId id="2147485676" r:id="rId4"/>
    <p:sldLayoutId id="2147485677" r:id="rId5"/>
    <p:sldLayoutId id="2147485678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>
                <a:solidFill>
                  <a:srgbClr val="000000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066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>
                <a:solidFill>
                  <a:srgbClr val="000000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06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>
                <a:solidFill>
                  <a:srgbClr val="FFFFFF"/>
                </a:solidFill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E8A519C8-EA43-4ABC-9005-C78A9F5E2C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900" b="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spcBef>
                <a:spcPct val="0"/>
              </a:spcBef>
              <a:buFontTx/>
              <a:buNone/>
            </a:pPr>
            <a:fld id="{3A04CDE5-DF1A-40A4-A771-A8C06B8BA0F3}" type="slidenum">
              <a:rPr lang="en-US" sz="1200" b="1">
                <a:solidFill>
                  <a:srgbClr val="FFFFFF"/>
                </a:solidFill>
                <a:latin typeface="Arial"/>
                <a:cs typeface="Arial" charset="0"/>
              </a:rPr>
              <a:pPr algn="r">
                <a:spcBef>
                  <a:spcPct val="0"/>
                </a:spcBef>
                <a:buFontTx/>
                <a:buNone/>
              </a:pPr>
              <a:t>‹#›</a:t>
            </a:fld>
            <a:endParaRPr lang="en-US" sz="1200" b="1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grpSp>
        <p:nvGrpSpPr>
          <p:cNvPr id="1033" name="Group 9"/>
          <p:cNvGrpSpPr>
            <a:grpSpLocks/>
          </p:cNvGrpSpPr>
          <p:nvPr/>
        </p:nvGrpSpPr>
        <p:grpSpPr bwMode="auto">
          <a:xfrm>
            <a:off x="5708650" y="6124575"/>
            <a:ext cx="2047875" cy="661988"/>
            <a:chOff x="3596" y="3858"/>
            <a:chExt cx="1290" cy="417"/>
          </a:xfrm>
        </p:grpSpPr>
        <p:pic>
          <p:nvPicPr>
            <p:cNvPr id="1035" name="Picture 10" descr="NEW FAA LOGO"/>
            <p:cNvPicPr>
              <a:picLocks noChangeAspect="1" noChangeArrowheads="1"/>
            </p:cNvPicPr>
            <p:nvPr userDrawn="1"/>
          </p:nvPicPr>
          <p:blipFill>
            <a:blip r:embed="rId13" cstate="print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7" name="Text Box 11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9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9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9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9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9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9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9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9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9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>
                  <a:solidFill>
                    <a:srgbClr val="FFFFFF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1034" name="Text Box 12"/>
          <p:cNvSpPr txBox="1">
            <a:spLocks noChangeArrowheads="1"/>
          </p:cNvSpPr>
          <p:nvPr/>
        </p:nvSpPr>
        <p:spPr bwMode="auto">
          <a:xfrm>
            <a:off x="449263" y="6205538"/>
            <a:ext cx="47847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9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9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9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9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200" dirty="0">
                <a:solidFill>
                  <a:srgbClr val="C0C0C0"/>
                </a:solidFill>
              </a:rPr>
              <a:t>ADS-B Equipage &amp; Avionics Performance Update</a:t>
            </a:r>
          </a:p>
        </p:txBody>
      </p:sp>
    </p:spTree>
    <p:extLst>
      <p:ext uri="{BB962C8B-B14F-4D97-AF65-F5344CB8AC3E}">
        <p14:creationId xmlns:p14="http://schemas.microsoft.com/office/powerpoint/2010/main" val="4031405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2" r:id="rId1"/>
    <p:sldLayoutId id="2147485683" r:id="rId2"/>
    <p:sldLayoutId id="2147485684" r:id="rId3"/>
    <p:sldLayoutId id="2147485685" r:id="rId4"/>
    <p:sldLayoutId id="2147485686" r:id="rId5"/>
    <p:sldLayoutId id="2147485687" r:id="rId6"/>
    <p:sldLayoutId id="2147485688" r:id="rId7"/>
    <p:sldLayoutId id="2147485689" r:id="rId8"/>
    <p:sldLayoutId id="2147485690" r:id="rId9"/>
    <p:sldLayoutId id="2147485691" r:id="rId10"/>
    <p:sldLayoutId id="214748569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9" imgW="38100" imgH="38100" progId="TCLayout.ActiveDocument.1">
                  <p:embed/>
                </p:oleObj>
              </mc:Choice>
              <mc:Fallback>
                <p:oleObj name="think-cell Slide" r:id="rId9" imgW="38100" imgH="38100" progId="TCLayout.ActiveDocument.1">
                  <p:embed/>
                  <p:pic>
                    <p:nvPicPr>
                      <p:cNvPr id="1026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7663" y="1568450"/>
            <a:ext cx="8435975" cy="466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Title Placeholder 5"/>
          <p:cNvSpPr>
            <a:spLocks noGrp="1"/>
          </p:cNvSpPr>
          <p:nvPr>
            <p:ph type="title"/>
          </p:nvPr>
        </p:nvSpPr>
        <p:spPr bwMode="auto">
          <a:xfrm>
            <a:off x="347663" y="274638"/>
            <a:ext cx="8229600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384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4" r:id="rId1"/>
    <p:sldLayoutId id="2147485695" r:id="rId2"/>
    <p:sldLayoutId id="2147485696" r:id="rId3"/>
    <p:sldLayoutId id="2147485697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400" b="1" kern="1200">
          <a:solidFill>
            <a:srgbClr val="5E7E94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09588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690563" indent="-180975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862013" indent="-1714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United_ppt_cover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9000" contrast="6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3388" y="455613"/>
            <a:ext cx="8002587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3388" y="1552574"/>
            <a:ext cx="8002587" cy="454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446838"/>
            <a:ext cx="688975" cy="3079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hlink"/>
                </a:solidFill>
                <a:latin typeface="Arial" charset="0"/>
                <a:ea typeface="ＭＳ Ｐゴシック" pitchFamily="-32" charset="-128"/>
              </a:defRPr>
            </a:lvl1pPr>
          </a:lstStyle>
          <a:p>
            <a:fld id="{21D35E9E-D5BF-4A7A-B968-E3D3BE46988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9" name="Picture 7" descr="united_6p_h_c_r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15900" y="6324600"/>
            <a:ext cx="210211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745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5" r:id="rId1"/>
    <p:sldLayoutId id="2147485726" r:id="rId2"/>
    <p:sldLayoutId id="2147485727" r:id="rId3"/>
    <p:sldLayoutId id="2147485728" r:id="rId4"/>
    <p:sldLayoutId id="2147485729" r:id="rId5"/>
    <p:sldLayoutId id="2147485730" r:id="rId6"/>
    <p:sldLayoutId id="2147485731" r:id="rId7"/>
    <p:sldLayoutId id="2147485732" r:id="rId8"/>
    <p:sldLayoutId id="2147485733" r:id="rId9"/>
    <p:sldLayoutId id="2147485734" r:id="rId10"/>
    <p:sldLayoutId id="2147485735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pitchFamily="34" charset="-128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9pPr>
    </p:titleStyle>
    <p:bodyStyle>
      <a:lvl1pPr marL="227013" indent="-2270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682625" indent="-228600" algn="l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900">
          <a:solidFill>
            <a:schemeClr val="tx1"/>
          </a:solidFill>
          <a:latin typeface="+mn-lt"/>
          <a:ea typeface="ＭＳ Ｐゴシック" pitchFamily="34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9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 descr="United_ppt_cover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3388" y="455613"/>
            <a:ext cx="8002587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3388" y="1552575"/>
            <a:ext cx="8002587" cy="454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446838"/>
            <a:ext cx="688975" cy="3079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hlink"/>
                </a:solidFill>
                <a:latin typeface="Arial" charset="0"/>
                <a:ea typeface="ＭＳ Ｐゴシック" pitchFamily="-32" charset="-128"/>
              </a:defRPr>
            </a:lvl1pPr>
          </a:lstStyle>
          <a:p>
            <a:pPr>
              <a:defRPr/>
            </a:pPr>
            <a:fld id="{273955BE-A48F-4CEC-B624-4427AB9CA7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7174" name="Picture 7" descr="united_6p_h_c_r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6324600"/>
            <a:ext cx="21018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90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4" r:id="rId1"/>
    <p:sldLayoutId id="2147485765" r:id="rId2"/>
    <p:sldLayoutId id="2147485766" r:id="rId3"/>
    <p:sldLayoutId id="2147485767" r:id="rId4"/>
    <p:sldLayoutId id="2147485768" r:id="rId5"/>
    <p:sldLayoutId id="2147485769" r:id="rId6"/>
    <p:sldLayoutId id="2147485770" r:id="rId7"/>
    <p:sldLayoutId id="2147485771" r:id="rId8"/>
    <p:sldLayoutId id="2147485772" r:id="rId9"/>
    <p:sldLayoutId id="2147485773" r:id="rId10"/>
    <p:sldLayoutId id="2147485774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pitchFamily="34" charset="-128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-32" charset="-128"/>
        </a:defRPr>
      </a:lvl9pPr>
    </p:titleStyle>
    <p:bodyStyle>
      <a:lvl1pPr marL="227013" indent="-227013" algn="l" rtl="0" fontAlgn="base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682625" indent="-228600" algn="l" rtl="0" fontAlgn="base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900">
          <a:solidFill>
            <a:schemeClr val="tx1"/>
          </a:solidFill>
          <a:latin typeface="+mn-lt"/>
          <a:ea typeface="ＭＳ Ｐゴシック" pitchFamily="34" charset="-128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9" imgW="38100" imgH="38100" progId="TCLayout.ActiveDocument.1">
                  <p:embed/>
                </p:oleObj>
              </mc:Choice>
              <mc:Fallback>
                <p:oleObj name="think-cell Slide" r:id="rId9" imgW="38100" imgH="38100" progId="TCLayout.ActiveDocument.1">
                  <p:embed/>
                  <p:pic>
                    <p:nvPicPr>
                      <p:cNvPr id="4098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47663" y="1568450"/>
            <a:ext cx="8435975" cy="466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100" name="Title Placeholder 5"/>
          <p:cNvSpPr>
            <a:spLocks noGrp="1"/>
          </p:cNvSpPr>
          <p:nvPr>
            <p:ph type="title"/>
          </p:nvPr>
        </p:nvSpPr>
        <p:spPr bwMode="auto">
          <a:xfrm>
            <a:off x="347663" y="274638"/>
            <a:ext cx="8229600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9773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8" r:id="rId3"/>
    <p:sldLayoutId id="2147485779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400" b="1" kern="1200">
          <a:solidFill>
            <a:srgbClr val="5E7E94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5E7E94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39725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509588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690563" indent="-180975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862013" indent="-1714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1" t="35313" r="1187"/>
          <a:stretch/>
        </p:blipFill>
        <p:spPr>
          <a:xfrm>
            <a:off x="0" y="127739"/>
            <a:ext cx="9137276" cy="2783541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0"/>
            <a:ext cx="9144000" cy="588647"/>
          </a:xfrm>
          <a:prstGeom prst="rect">
            <a:avLst/>
          </a:prstGeom>
          <a:solidFill>
            <a:srgbClr val="082E6E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788" y="40914"/>
            <a:ext cx="9097469" cy="5332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743258" y="6570830"/>
            <a:ext cx="37011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C7BA1A88-C0B3-A046-8FCE-60C7C10D6C31}" type="slidenum">
              <a:rPr lang="en-US" sz="90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868" y="67053"/>
            <a:ext cx="1165332" cy="437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94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0" r:id="rId1"/>
    <p:sldLayoutId id="2147485831" r:id="rId2"/>
    <p:sldLayoutId id="2147485832" r:id="rId3"/>
    <p:sldLayoutId id="2147485833" r:id="rId4"/>
    <p:sldLayoutId id="2147485834" r:id="rId5"/>
    <p:sldLayoutId id="2147485835" r:id="rId6"/>
    <p:sldLayoutId id="2147485836" r:id="rId7"/>
    <p:sldLayoutId id="2147485837" r:id="rId8"/>
    <p:sldLayoutId id="2147485838" r:id="rId9"/>
    <p:sldLayoutId id="2147485839" r:id="rId10"/>
    <p:sldLayoutId id="2147485840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600" b="0" i="0" kern="1200">
          <a:solidFill>
            <a:schemeClr val="bg1"/>
          </a:solidFill>
          <a:latin typeface="+mn-lt"/>
          <a:ea typeface="+mj-ea"/>
          <a:cs typeface="Myriad Pro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Myriad Pro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Myriad Pro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Myriad Pro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Myriad Pro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Myriad Pro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8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39619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1"/>
          <p:cNvSpPr txBox="1">
            <a:spLocks noChangeArrowheads="1"/>
          </p:cNvSpPr>
          <p:nvPr/>
        </p:nvSpPr>
        <p:spPr>
          <a:xfrm>
            <a:off x="3429000" y="6354763"/>
            <a:ext cx="5181600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400" i="1" baseline="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18BC153D-5C19-4244-8AC9-A687027D10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39622" name="Picture 8" descr="RTCA Logo dots only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0"/>
            <a:ext cx="5080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3264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7" r:id="rId1"/>
    <p:sldLayoutId id="2147485858" r:id="rId2"/>
    <p:sldLayoutId id="2147485859" r:id="rId3"/>
    <p:sldLayoutId id="2147485860" r:id="rId4"/>
    <p:sldLayoutId id="2147485861" r:id="rId5"/>
    <p:sldLayoutId id="2147485862" r:id="rId6"/>
    <p:sldLayoutId id="2147485863" r:id="rId7"/>
    <p:sldLayoutId id="2147485864" r:id="rId8"/>
    <p:sldLayoutId id="2147485865" r:id="rId9"/>
    <p:sldLayoutId id="2147485866" r:id="rId10"/>
    <p:sldLayoutId id="2147485867" r:id="rId11"/>
    <p:sldLayoutId id="2147485868" r:id="rId12"/>
    <p:sldLayoutId id="2147485869" r:id="rId13"/>
    <p:sldLayoutId id="2147485870" r:id="rId14"/>
    <p:sldLayoutId id="2147485871" r:id="rId15"/>
  </p:sldLayoutIdLst>
  <p:transition/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36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36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fontAlgn="base">
        <a:spcBef>
          <a:spcPts val="1200"/>
        </a:spcBef>
        <a:spcAft>
          <a:spcPct val="0"/>
        </a:spcAft>
        <a:buClr>
          <a:srgbClr val="000000"/>
        </a:buClr>
        <a:buSzPct val="60000"/>
        <a:buBlip>
          <a:blip r:embed="rId18"/>
        </a:buBlip>
        <a:defRPr sz="28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ts val="900"/>
        </a:spcBef>
        <a:spcAft>
          <a:spcPct val="0"/>
        </a:spcAft>
        <a:buClr>
          <a:srgbClr val="000000"/>
        </a:buClr>
        <a:buFont typeface="Arial" charset="0"/>
        <a:buChar char="•"/>
        <a:defRPr sz="2400">
          <a:solidFill>
            <a:srgbClr val="000000"/>
          </a:solidFill>
          <a:latin typeface="+mn-lt"/>
        </a:defRPr>
      </a:lvl2pPr>
      <a:lvl3pPr marL="1143000" indent="-228600" algn="l" rtl="0" fontAlgn="base">
        <a:spcBef>
          <a:spcPts val="60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 sz="2200">
          <a:solidFill>
            <a:srgbClr val="000000"/>
          </a:solidFill>
          <a:latin typeface="+mn-lt"/>
        </a:defRPr>
      </a:lvl3pPr>
      <a:lvl4pPr marL="1600200" indent="-228600" algn="l" rtl="0" fontAlgn="base">
        <a:spcBef>
          <a:spcPts val="600"/>
        </a:spcBef>
        <a:spcAft>
          <a:spcPct val="0"/>
        </a:spcAft>
        <a:buClr>
          <a:srgbClr val="000000"/>
        </a:buClr>
        <a:buFont typeface="Arial" charset="0"/>
        <a:buChar char="•"/>
        <a:defRPr sz="2000">
          <a:solidFill>
            <a:srgbClr val="000000"/>
          </a:solidFill>
          <a:latin typeface="+mn-lt"/>
        </a:defRPr>
      </a:lvl4pPr>
      <a:lvl5pPr marL="2057400" indent="-228600" algn="l" rtl="0" fontAlgn="base">
        <a:spcBef>
          <a:spcPts val="30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70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8313" y="1066800"/>
            <a:ext cx="8229600" cy="487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52400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858000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4AE4B41-4452-420D-A654-F50C6C58A697}" type="slidenum">
              <a:rPr lang="en-US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6477000"/>
            <a:ext cx="28956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defRPr>
            </a:lvl1pPr>
          </a:lstStyle>
          <a:p>
            <a:pPr defTabSz="457200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766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5" r:id="rId1"/>
    <p:sldLayoutId id="2147485886" r:id="rId2"/>
    <p:sldLayoutId id="2147485887" r:id="rId3"/>
    <p:sldLayoutId id="2147485888" r:id="rId4"/>
    <p:sldLayoutId id="2147485889" r:id="rId5"/>
    <p:sldLayoutId id="2147485890" r:id="rId6"/>
    <p:sldLayoutId id="2147485891" r:id="rId7"/>
    <p:sldLayoutId id="2147485892" r:id="rId8"/>
    <p:sldLayoutId id="2147485893" r:id="rId9"/>
    <p:sldLayoutId id="2147485894" r:id="rId10"/>
    <p:sldLayoutId id="2147485895" r:id="rId11"/>
    <p:sldLayoutId id="2147485896" r:id="rId12"/>
    <p:sldLayoutId id="2147485897" r:id="rId1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17375E"/>
          </a:solidFill>
          <a:latin typeface="+mj-lt"/>
          <a:ea typeface="+mj-ea"/>
          <a:cs typeface="Arial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7375E"/>
          </a:solidFill>
          <a:latin typeface="Calibri" pitchFamily="34" charset="0"/>
          <a:cs typeface="Arial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7375E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CC9933"/>
        </a:buClr>
        <a:buSzPct val="50000"/>
        <a:buFont typeface="Wingdings" pitchFamily="2" charset="2"/>
        <a:buChar char=""/>
        <a:defRPr sz="1400" kern="1200">
          <a:solidFill>
            <a:schemeClr val="tx1"/>
          </a:solidFill>
          <a:latin typeface="+mn-lt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558ED5"/>
        </a:buClr>
        <a:buSzPct val="80000"/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163513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32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098550"/>
            <a:ext cx="8050213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293" name="Text Box 5"/>
          <p:cNvSpPr txBox="1">
            <a:spLocks noChangeArrowheads="1"/>
          </p:cNvSpPr>
          <p:nvPr/>
        </p:nvSpPr>
        <p:spPr bwMode="white">
          <a:xfrm>
            <a:off x="449264" y="6205548"/>
            <a:ext cx="4784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spcBef>
                <a:spcPct val="50000"/>
              </a:spcBef>
              <a:defRPr/>
            </a:pPr>
            <a:r>
              <a:rPr lang="en-US" sz="1200" b="0" dirty="0">
                <a:solidFill>
                  <a:srgbClr val="FFFFFF"/>
                </a:solidFill>
              </a:rPr>
              <a:t>NMB/NRB FY11 Oversight and Decision-making Work Plan</a:t>
            </a: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05A42ACB-A6C8-43D0-B953-99AE97724291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53255" name="Group 7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53257" name="Picture 8" descr="NEW FAA LOGO"/>
            <p:cNvPicPr>
              <a:picLocks noChangeAspect="1" noChangeArrowheads="1"/>
            </p:cNvPicPr>
            <p:nvPr userDrawn="1"/>
          </p:nvPicPr>
          <p:blipFill>
            <a:blip r:embed="rId14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4" name="Text Box 9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1032" name="Text Box 10"/>
          <p:cNvSpPr txBox="1">
            <a:spLocks noChangeArrowheads="1"/>
          </p:cNvSpPr>
          <p:nvPr/>
        </p:nvSpPr>
        <p:spPr bwMode="white">
          <a:xfrm>
            <a:off x="442916" y="6473825"/>
            <a:ext cx="4784725" cy="2746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spcBef>
                <a:spcPct val="50000"/>
              </a:spcBef>
              <a:defRPr/>
            </a:pPr>
            <a:r>
              <a:rPr lang="en-US" sz="1200" b="0" dirty="0">
                <a:solidFill>
                  <a:srgbClr val="FFFFFF"/>
                </a:solidFill>
              </a:rPr>
              <a:t>January 24, 2011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39" r:id="rId1"/>
    <p:sldLayoutId id="2147484857" r:id="rId2"/>
    <p:sldLayoutId id="2147484856" r:id="rId3"/>
    <p:sldLayoutId id="2147484855" r:id="rId4"/>
    <p:sldLayoutId id="2147484854" r:id="rId5"/>
    <p:sldLayoutId id="2147484853" r:id="rId6"/>
    <p:sldLayoutId id="2147484852" r:id="rId7"/>
    <p:sldLayoutId id="2147484851" r:id="rId8"/>
    <p:sldLayoutId id="2147484850" r:id="rId9"/>
    <p:sldLayoutId id="2147484849" r:id="rId10"/>
    <p:sldLayoutId id="2147484848" r:id="rId11"/>
    <p:sldLayoutId id="214748484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+mj-lt"/>
          <a:ea typeface="ＭＳ Ｐゴシック" pitchFamily="-65" charset="-128"/>
          <a:cs typeface="ＭＳ Ｐゴシック" pitchFamily="-65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ＭＳ Ｐゴシック" pitchFamily="-65" charset="-128"/>
          <a:cs typeface="ＭＳ Ｐゴシック" pitchFamily="-65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" y="2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2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9" y="1990794"/>
            <a:ext cx="4264025" cy="230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44" y="234974"/>
            <a:ext cx="8794113" cy="278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22838" y="296117"/>
            <a:ext cx="769432" cy="1012346"/>
            <a:chOff x="4936" y="176"/>
            <a:chExt cx="475" cy="625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08853" y="296165"/>
            <a:ext cx="1083672" cy="740233"/>
            <a:chOff x="4750" y="176"/>
            <a:chExt cx="669" cy="457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endParaRPr lang="en-US" sz="1500" dirty="0">
                <a:solidFill>
                  <a:srgbClr val="4D4F53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855068" y="296184"/>
            <a:ext cx="1058431" cy="210379"/>
            <a:chOff x="7703475" y="285750"/>
            <a:chExt cx="1037300" cy="206181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703475" y="285750"/>
              <a:ext cx="1037300" cy="20618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703475" y="285750"/>
              <a:ext cx="0" cy="20618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703475" y="491931"/>
              <a:ext cx="103730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2" name="McK 1. 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8966" y="27557"/>
            <a:ext cx="727763" cy="182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99903" fontAlgn="base">
              <a:spcBef>
                <a:spcPct val="0"/>
              </a:spcBef>
              <a:spcAft>
                <a:spcPct val="0"/>
              </a:spcAft>
            </a:pPr>
            <a:r>
              <a:rPr lang="en-US" sz="1187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43" name="McK 3. 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44" y="551858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7" name="LegendMoons" hidden="1"/>
          <p:cNvGrpSpPr/>
          <p:nvPr/>
        </p:nvGrpSpPr>
        <p:grpSpPr bwMode="auto">
          <a:xfrm>
            <a:off x="8054114" y="296192"/>
            <a:ext cx="836964" cy="1333056"/>
            <a:chOff x="6655594" y="273840"/>
            <a:chExt cx="820252" cy="1306516"/>
          </a:xfrm>
        </p:grpSpPr>
        <p:grpSp>
          <p:nvGrpSpPr>
            <p:cNvPr id="48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6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7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</p:grpSp>
        <p:grpSp>
          <p:nvGrpSpPr>
            <p:cNvPr id="49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4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5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</p:grpSp>
        <p:grpSp>
          <p:nvGrpSpPr>
            <p:cNvPr id="50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</p:grpSp>
        <p:grpSp>
          <p:nvGrpSpPr>
            <p:cNvPr id="51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0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61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</p:grp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99576" cy="179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99577" cy="179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99577" cy="179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5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99577" cy="179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sp>
          <p:nvSpPr>
            <p:cNvPr id="5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99577" cy="1790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8442" fontAlgn="base">
                <a:spcBef>
                  <a:spcPct val="0"/>
                </a:spcBef>
                <a:spcAft>
                  <a:spcPct val="0"/>
                </a:spcAft>
                <a:buClr>
                  <a:srgbClr val="003399"/>
                </a:buClr>
              </a:pPr>
              <a:r>
                <a:rPr lang="en-US" sz="1187" dirty="0">
                  <a:solidFill>
                    <a:srgbClr val="4D4F53"/>
                  </a:solidFill>
                </a:rPr>
                <a:t>Legend</a:t>
              </a:r>
            </a:p>
          </p:txBody>
        </p:sp>
        <p:grpSp>
          <p:nvGrpSpPr>
            <p:cNvPr id="5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7999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4D4F53"/>
                  </a:solidFill>
                </a:endParaRPr>
              </a:p>
            </p:txBody>
          </p:sp>
        </p:grpSp>
      </p:grpSp>
      <p:pic>
        <p:nvPicPr>
          <p:cNvPr id="68" name="Picture 7" descr="united_6p_h_c_r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1595" y="6511274"/>
            <a:ext cx="1218407" cy="24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0" name="McK Slide Elements" hidden="1"/>
          <p:cNvGrpSpPr>
            <a:grpSpLocks/>
          </p:cNvGrpSpPr>
          <p:nvPr/>
        </p:nvGrpSpPr>
        <p:grpSpPr bwMode="auto">
          <a:xfrm>
            <a:off x="119044" y="6115935"/>
            <a:ext cx="8794113" cy="349268"/>
            <a:chOff x="121488" y="6371875"/>
            <a:chExt cx="8794114" cy="349262"/>
          </a:xfrm>
        </p:grpSpPr>
        <p:sp>
          <p:nvSpPr>
            <p:cNvPr id="71" name="McK 4. Footnote"/>
            <p:cNvSpPr txBox="1">
              <a:spLocks noChangeArrowheads="1"/>
            </p:cNvSpPr>
            <p:nvPr/>
          </p:nvSpPr>
          <p:spPr bwMode="auto">
            <a:xfrm>
              <a:off x="121488" y="6371875"/>
              <a:ext cx="8794114" cy="134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75" dirty="0">
                  <a:solidFill>
                    <a:srgbClr val="4D4F53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72" name="McK 5. Source"/>
            <p:cNvSpPr>
              <a:spLocks noChangeArrowheads="1"/>
            </p:cNvSpPr>
            <p:nvPr/>
          </p:nvSpPr>
          <p:spPr bwMode="auto">
            <a:xfrm>
              <a:off x="121488" y="6586487"/>
              <a:ext cx="8794112" cy="134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35984" indent="-535984" defTabSz="799039" fontAlgn="base">
                <a:spcBef>
                  <a:spcPct val="0"/>
                </a:spcBef>
                <a:spcAft>
                  <a:spcPct val="0"/>
                </a:spcAft>
                <a:tabLst>
                  <a:tab pos="540158" algn="l"/>
                </a:tabLst>
              </a:pPr>
              <a:r>
                <a:rPr lang="en-US" sz="875" dirty="0">
                  <a:solidFill>
                    <a:srgbClr val="4D4F53"/>
                  </a:solidFill>
                </a:rPr>
                <a:t>SOURCE: Source</a:t>
              </a:r>
            </a:p>
          </p:txBody>
        </p:sp>
      </p:grpSp>
      <p:grpSp>
        <p:nvGrpSpPr>
          <p:cNvPr id="73" name="ACET" hidden="1"/>
          <p:cNvGrpSpPr>
            <a:grpSpLocks/>
          </p:cNvGrpSpPr>
          <p:nvPr/>
        </p:nvGrpSpPr>
        <p:grpSpPr bwMode="auto">
          <a:xfrm>
            <a:off x="1452573" y="1424789"/>
            <a:ext cx="4264025" cy="479421"/>
            <a:chOff x="915" y="728"/>
            <a:chExt cx="2686" cy="302"/>
          </a:xfrm>
        </p:grpSpPr>
        <p:cxnSp>
          <p:nvCxnSpPr>
            <p:cNvPr id="74" name="AutoShape 249"/>
            <p:cNvCxnSpPr>
              <a:cxnSpLocks noChangeShapeType="1"/>
              <a:stCxn id="75" idx="4"/>
              <a:endCxn id="7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AutoShape 250"/>
            <p:cNvSpPr>
              <a:spLocks noChangeArrowheads="1"/>
            </p:cNvSpPr>
            <p:nvPr/>
          </p:nvSpPr>
          <p:spPr bwMode="auto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00" b="1" dirty="0">
                  <a:solidFill>
                    <a:srgbClr val="4D4F53"/>
                  </a:solidFill>
                </a:rPr>
                <a:t>Title</a:t>
              </a:r>
            </a:p>
            <a:p>
              <a:pPr defTabSz="79990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771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6" r:id="rId1"/>
    <p:sldLayoutId id="2147485927" r:id="rId2"/>
    <p:sldLayoutId id="2147485928" r:id="rId3"/>
  </p:sldLayoutIdLst>
  <p:hf hdr="0" ftr="0" dt="0"/>
  <p:txStyles>
    <p:titleStyle>
      <a:lvl1pPr algn="l" defTabSz="799039" rtl="0" eaLnBrk="1" fontAlgn="base" hangingPunct="1">
        <a:spcBef>
          <a:spcPct val="0"/>
        </a:spcBef>
        <a:spcAft>
          <a:spcPct val="0"/>
        </a:spcAft>
        <a:tabLst>
          <a:tab pos="240835" algn="l"/>
        </a:tabLst>
        <a:defRPr sz="1812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2pPr>
      <a:lvl3pPr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3pPr>
      <a:lvl4pPr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4pPr>
      <a:lvl5pPr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5pPr>
      <a:lvl6pPr marL="408013"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6pPr>
      <a:lvl7pPr marL="816052"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7pPr>
      <a:lvl8pPr marL="1224068"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8pPr>
      <a:lvl9pPr marL="1632118" algn="l" defTabSz="799039" rtl="0" eaLnBrk="1" fontAlgn="base" hangingPunct="1">
        <a:spcBef>
          <a:spcPct val="0"/>
        </a:spcBef>
        <a:spcAft>
          <a:spcPct val="0"/>
        </a:spcAft>
        <a:defRPr sz="16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172840" indent="-171421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 baseline="0">
          <a:solidFill>
            <a:schemeClr val="tx1"/>
          </a:solidFill>
          <a:latin typeface="+mn-lt"/>
        </a:defRPr>
      </a:lvl2pPr>
      <a:lvl3pPr marL="408013" indent="-233778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548276" indent="-138851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 baseline="0">
          <a:solidFill>
            <a:schemeClr val="tx1"/>
          </a:solidFill>
          <a:latin typeface="+mn-lt"/>
        </a:defRPr>
      </a:lvl4pPr>
      <a:lvl5pPr marL="669145" indent="-116165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669145" indent="-116165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6pPr>
      <a:lvl7pPr marL="669145" indent="-116165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7pPr>
      <a:lvl8pPr marL="669145" indent="-116165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8pPr>
      <a:lvl9pPr marL="669145" indent="-116165" algn="l" defTabSz="7990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08013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16052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24068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32118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40128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48139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56159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264206" algn="l" defTabSz="816052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993" y="1324"/>
          <a:ext cx="992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1324"/>
                        <a:ext cx="992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901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520" tIns="45720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 </a:t>
            </a:r>
            <a:r>
              <a:rPr lang="en-US" dirty="0" err="1"/>
              <a:t>xxxxxxxxxxxxxxxxxxxxxxxxxxxxxx</a:t>
            </a:r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399" y="1040806"/>
            <a:ext cx="8229203" cy="452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78626" y="6555385"/>
            <a:ext cx="2133203" cy="28971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75"/>
            </a:lvl1pPr>
          </a:lstStyle>
          <a:p>
            <a:pPr defTabSz="571477">
              <a:defRPr/>
            </a:pPr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58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0517" y="6575228"/>
            <a:ext cx="2133203" cy="2778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50"/>
            </a:lvl1pPr>
          </a:lstStyle>
          <a:p>
            <a:pPr defTabSz="571477">
              <a:defRPr/>
            </a:pPr>
            <a:fld id="{D52E8E4A-3DA9-4CE4-8287-3AE5F13DF2C2}" type="slidenum">
              <a:rPr lang="en-US" smtClean="0">
                <a:solidFill>
                  <a:srgbClr val="000000"/>
                </a:solidFill>
                <a:ea typeface="ＭＳ Ｐゴシック" pitchFamily="34" charset="-128"/>
              </a:rPr>
              <a:pPr defTabSz="571477">
                <a:defRPr/>
              </a:pPr>
              <a:t>‹#›</a:t>
            </a:fld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9" name="Picture 8" descr="united_6p_h_c_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33" y="6440139"/>
            <a:ext cx="1218407" cy="332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9484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0" r:id="rId1"/>
    <p:sldLayoutId id="2147485931" r:id="rId2"/>
    <p:sldLayoutId id="2147485932" r:id="rId3"/>
    <p:sldLayoutId id="2147485933" r:id="rId4"/>
    <p:sldLayoutId id="2147485934" r:id="rId5"/>
  </p:sldLayoutIdLst>
  <p:hf hdr="0" ftr="0" dt="0"/>
  <p:txStyles>
    <p:titleStyle>
      <a:lvl1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2pPr>
      <a:lvl3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3pPr>
      <a:lvl4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4pPr>
      <a:lvl5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5pPr>
      <a:lvl6pPr marL="285739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6pPr>
      <a:lvl7pPr marL="571477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7pPr>
      <a:lvl8pPr marL="857216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8pPr>
      <a:lvl9pPr marL="1142954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9pPr>
    </p:titleStyle>
    <p:bodyStyle>
      <a:lvl1pPr marL="214304" indent="-214304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750" b="1">
          <a:solidFill>
            <a:schemeClr val="tx1"/>
          </a:solidFill>
          <a:latin typeface="+mn-lt"/>
          <a:ea typeface="+mn-ea"/>
          <a:cs typeface="+mn-cs"/>
        </a:defRPr>
      </a:lvl1pPr>
      <a:lvl2pPr marL="464326" indent="-178587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2pPr>
      <a:lvl3pPr marL="714346" indent="-142869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3pPr>
      <a:lvl4pPr marL="1000085" indent="-174618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4pPr>
      <a:lvl5pPr marL="1285824" indent="-142869" algn="l" rtl="0" eaLnBrk="0" fontAlgn="base" hangingPunct="0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5pPr>
      <a:lvl6pPr marL="1571562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6pPr>
      <a:lvl7pPr marL="1857301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7pPr>
      <a:lvl8pPr marL="2143039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8pPr>
      <a:lvl9pPr marL="2428778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7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1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993" y="1324"/>
          <a:ext cx="992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1324"/>
                        <a:ext cx="992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901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31520" tIns="45720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 </a:t>
            </a:r>
            <a:r>
              <a:rPr lang="en-US" dirty="0" err="1"/>
              <a:t>xxxxxxxxxxxxxxxxxxxxxxxxxxxxxx</a:t>
            </a:r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399" y="1040806"/>
            <a:ext cx="8229203" cy="452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78626" y="6555385"/>
            <a:ext cx="2133203" cy="28971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75"/>
            </a:lvl1pPr>
          </a:lstStyle>
          <a:p>
            <a:pPr defTabSz="571477">
              <a:defRPr/>
            </a:pPr>
            <a:endParaRPr lang="en-US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149" y="6580188"/>
            <a:ext cx="2895203" cy="2629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marR="0" indent="0" algn="l" defTabSz="5714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5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58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90517" y="6575228"/>
            <a:ext cx="2133203" cy="2778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50"/>
            </a:lvl1pPr>
          </a:lstStyle>
          <a:p>
            <a:pPr defTabSz="571477">
              <a:defRPr/>
            </a:pPr>
            <a:fld id="{D52E8E4A-3DA9-4CE4-8287-3AE5F13DF2C2}" type="slidenum">
              <a:rPr lang="en-US" smtClean="0">
                <a:solidFill>
                  <a:srgbClr val="000000"/>
                </a:solidFill>
                <a:ea typeface="ＭＳ Ｐゴシック" pitchFamily="34" charset="-128"/>
              </a:rPr>
              <a:pPr defTabSz="571477">
                <a:defRPr/>
              </a:pPr>
              <a:t>‹#›</a:t>
            </a:fld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9" name="Picture 8" descr="united_6p_h_c_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133" y="6440139"/>
            <a:ext cx="1218407" cy="332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9214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6" r:id="rId1"/>
    <p:sldLayoutId id="2147485937" r:id="rId2"/>
    <p:sldLayoutId id="2147485938" r:id="rId3"/>
    <p:sldLayoutId id="2147485939" r:id="rId4"/>
    <p:sldLayoutId id="2147485940" r:id="rId5"/>
  </p:sldLayoutIdLst>
  <p:hf hdr="0" ftr="0" dt="0"/>
  <p:txStyles>
    <p:titleStyle>
      <a:lvl1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2pPr>
      <a:lvl3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3pPr>
      <a:lvl4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4pPr>
      <a:lvl5pPr algn="l" rtl="0" eaLnBrk="0" fontAlgn="base" hangingPunct="0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5pPr>
      <a:lvl6pPr marL="285739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6pPr>
      <a:lvl7pPr marL="571477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7pPr>
      <a:lvl8pPr marL="857216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8pPr>
      <a:lvl9pPr marL="1142954" algn="l" rtl="0" fontAlgn="base">
        <a:spcBef>
          <a:spcPct val="50000"/>
        </a:spcBef>
        <a:spcAft>
          <a:spcPct val="0"/>
        </a:spcAft>
        <a:defRPr sz="2250" b="1">
          <a:solidFill>
            <a:srgbClr val="003399"/>
          </a:solidFill>
          <a:latin typeface="Arial" charset="0"/>
        </a:defRPr>
      </a:lvl9pPr>
    </p:titleStyle>
    <p:bodyStyle>
      <a:lvl1pPr marL="214304" indent="-214304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750" b="1">
          <a:solidFill>
            <a:schemeClr val="tx1"/>
          </a:solidFill>
          <a:latin typeface="+mn-lt"/>
          <a:ea typeface="+mn-ea"/>
          <a:cs typeface="+mn-cs"/>
        </a:defRPr>
      </a:lvl1pPr>
      <a:lvl2pPr marL="464326" indent="-178587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2pPr>
      <a:lvl3pPr marL="714346" indent="-142869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3pPr>
      <a:lvl4pPr marL="1000085" indent="-174618" algn="l" rtl="0" eaLnBrk="0" fontAlgn="base" hangingPunct="0">
        <a:spcBef>
          <a:spcPct val="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4pPr>
      <a:lvl5pPr marL="1285824" indent="-142869" algn="l" rtl="0" eaLnBrk="0" fontAlgn="base" hangingPunct="0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5pPr>
      <a:lvl6pPr marL="1571562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6pPr>
      <a:lvl7pPr marL="1857301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7pPr>
      <a:lvl8pPr marL="2143039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8pPr>
      <a:lvl9pPr marL="2428778" indent="-142869" algn="l" rtl="0" fontAlgn="base">
        <a:spcBef>
          <a:spcPct val="0"/>
        </a:spcBef>
        <a:spcAft>
          <a:spcPct val="60000"/>
        </a:spcAft>
        <a:buClr>
          <a:schemeClr val="accent2"/>
        </a:buClr>
        <a:buFont typeface="Wingdings" pitchFamily="2" charset="2"/>
        <a:buChar char="§"/>
        <a:tabLst>
          <a:tab pos="926666" algn="l"/>
        </a:tabLst>
        <a:defRPr sz="1625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7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1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5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1"/>
          <p:cNvSpPr txBox="1">
            <a:spLocks noChangeArrowheads="1"/>
          </p:cNvSpPr>
          <p:nvPr/>
        </p:nvSpPr>
        <p:spPr>
          <a:xfrm>
            <a:off x="3429000" y="6354763"/>
            <a:ext cx="5181600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400" i="1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sz="105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750">
                <a:solidFill>
                  <a:srgbClr val="000000"/>
                </a:solidFill>
                <a:latin typeface="+mn-lt"/>
              </a:defRPr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  <p:pic>
        <p:nvPicPr>
          <p:cNvPr id="1030" name="Picture 8" descr="RTCA Logo dots only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5080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32602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2" r:id="rId1"/>
    <p:sldLayoutId id="2147485943" r:id="rId2"/>
    <p:sldLayoutId id="2147485944" r:id="rId3"/>
    <p:sldLayoutId id="2147485945" r:id="rId4"/>
    <p:sldLayoutId id="2147485946" r:id="rId5"/>
    <p:sldLayoutId id="2147485947" r:id="rId6"/>
    <p:sldLayoutId id="2147485948" r:id="rId7"/>
    <p:sldLayoutId id="2147485949" r:id="rId8"/>
    <p:sldLayoutId id="2147485950" r:id="rId9"/>
    <p:sldLayoutId id="2147485951" r:id="rId10"/>
    <p:sldLayoutId id="2147485952" r:id="rId11"/>
  </p:sldLayoutIdLst>
  <p:transition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257175" indent="-257175" algn="l" rtl="0" eaLnBrk="1" fontAlgn="base" hangingPunct="1">
        <a:spcBef>
          <a:spcPts val="900"/>
        </a:spcBef>
        <a:spcAft>
          <a:spcPct val="0"/>
        </a:spcAft>
        <a:buClr>
          <a:srgbClr val="000000"/>
        </a:buClr>
        <a:buSzPct val="60000"/>
        <a:buBlip>
          <a:blip r:embed="rId14"/>
        </a:buBlip>
        <a:defRPr sz="2100">
          <a:solidFill>
            <a:srgbClr val="000000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ts val="675"/>
        </a:spcBef>
        <a:spcAft>
          <a:spcPct val="0"/>
        </a:spcAft>
        <a:buClr>
          <a:srgbClr val="000000"/>
        </a:buClr>
        <a:buFont typeface="Arial" charset="0"/>
        <a:buChar char="•"/>
        <a:defRPr sz="1800">
          <a:solidFill>
            <a:srgbClr val="000000"/>
          </a:solidFill>
          <a:latin typeface="+mn-lt"/>
        </a:defRPr>
      </a:lvl2pPr>
      <a:lvl3pPr marL="857250" indent="-171450" algn="l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 sz="1650">
          <a:solidFill>
            <a:srgbClr val="000000"/>
          </a:solidFill>
          <a:latin typeface="+mn-lt"/>
        </a:defRPr>
      </a:lvl3pPr>
      <a:lvl4pPr marL="1200150" indent="-171450" algn="l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Font typeface="Arial" charset="0"/>
        <a:buChar char="•"/>
        <a:defRPr sz="1500">
          <a:solidFill>
            <a:srgbClr val="000000"/>
          </a:solidFill>
          <a:latin typeface="+mn-lt"/>
        </a:defRPr>
      </a:lvl4pPr>
      <a:lvl5pPr marL="1543050" indent="-171450" algn="l" rtl="0" eaLnBrk="1" fontAlgn="base" hangingPunct="1">
        <a:spcBef>
          <a:spcPts val="225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>
          <a:solidFill>
            <a:srgbClr val="000000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it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latin typeface="Times New Roman" pitchFamily="18" charset="0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latin typeface="Times New Roman" pitchFamily="18" charset="0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  <a:latin typeface="Times New Roman" pitchFamily="18" charset="0"/>
                <a:cs typeface="+mn-cs"/>
              </a:defRPr>
            </a:lvl1pPr>
          </a:lstStyle>
          <a:p>
            <a:fld id="{CDF58BD2-86B7-47B6-AFD4-34AA5C6F893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31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032" name="Group 25"/>
          <p:cNvGrpSpPr>
            <a:grpSpLocks/>
          </p:cNvGrpSpPr>
          <p:nvPr/>
        </p:nvGrpSpPr>
        <p:grpSpPr bwMode="auto">
          <a:xfrm>
            <a:off x="5708650" y="6124575"/>
            <a:ext cx="2047875" cy="661988"/>
            <a:chOff x="3596" y="3858"/>
            <a:chExt cx="1290" cy="417"/>
          </a:xfrm>
        </p:grpSpPr>
        <p:pic>
          <p:nvPicPr>
            <p:cNvPr id="1036" name="Picture 26" descr="NEW FAA LOGO"/>
            <p:cNvPicPr>
              <a:picLocks noChangeAspect="1" noChangeArrowheads="1"/>
            </p:cNvPicPr>
            <p:nvPr userDrawn="1"/>
          </p:nvPicPr>
          <p:blipFill>
            <a:blip r:embed="rId1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prstClr val="white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</a:pPr>
              <a:r>
                <a:rPr lang="en-US" sz="1200" b="1" dirty="0">
                  <a:solidFill>
                    <a:prstClr val="white"/>
                  </a:solidFill>
                </a:rPr>
                <a:t>Administration</a:t>
              </a:r>
            </a:p>
          </p:txBody>
        </p:sp>
      </p:grpSp>
      <p:sp>
        <p:nvSpPr>
          <p:cNvPr id="1035" name="Text Box 33"/>
          <p:cNvSpPr txBox="1">
            <a:spLocks noChangeArrowheads="1"/>
          </p:cNvSpPr>
          <p:nvPr/>
        </p:nvSpPr>
        <p:spPr bwMode="auto">
          <a:xfrm rot="10800000" flipV="1">
            <a:off x="8170863" y="6324600"/>
            <a:ext cx="9429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BE57A294-C475-4EB4-80AD-4A3D3BD0194F}" type="slidenum">
              <a:rPr lang="en-US" sz="1200" b="1">
                <a:solidFill>
                  <a:srgbClr val="C0C0C0"/>
                </a:solidFill>
              </a:rPr>
              <a:pPr algn="ctr"/>
              <a:t>‹#›</a:t>
            </a:fld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0800" y="6553200"/>
            <a:ext cx="2308225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C0C0C0"/>
                </a:solidFill>
              </a:rPr>
              <a:t>www.faa.gov/uas</a:t>
            </a:r>
          </a:p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04800" y="6248400"/>
            <a:ext cx="274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>
                    <a:lumMod val="85000"/>
                  </a:schemeClr>
                </a:solidFill>
              </a:rPr>
              <a:t>January</a:t>
            </a:r>
            <a:r>
              <a:rPr lang="en-US" sz="1000" b="1" baseline="0" dirty="0">
                <a:solidFill>
                  <a:schemeClr val="bg1">
                    <a:lumMod val="85000"/>
                  </a:schemeClr>
                </a:solidFill>
              </a:rPr>
              <a:t> 31 </a:t>
            </a:r>
            <a:r>
              <a:rPr lang="en-US" sz="1000" b="1" dirty="0">
                <a:solidFill>
                  <a:schemeClr val="bg1">
                    <a:lumMod val="85000"/>
                  </a:schemeClr>
                </a:solidFill>
              </a:rPr>
              <a:t>Drone Advisory Committee </a:t>
            </a:r>
          </a:p>
          <a:p>
            <a:r>
              <a:rPr lang="en-US" sz="1000" b="1" dirty="0">
                <a:solidFill>
                  <a:schemeClr val="bg1">
                    <a:lumMod val="85000"/>
                  </a:schemeClr>
                </a:solidFill>
              </a:rPr>
              <a:t>FAA Update</a:t>
            </a:r>
          </a:p>
        </p:txBody>
      </p:sp>
    </p:spTree>
    <p:extLst>
      <p:ext uri="{BB962C8B-B14F-4D97-AF65-F5344CB8AC3E}">
        <p14:creationId xmlns:p14="http://schemas.microsoft.com/office/powerpoint/2010/main" val="1112003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4" r:id="rId1"/>
    <p:sldLayoutId id="2147485955" r:id="rId2"/>
    <p:sldLayoutId id="2147485956" r:id="rId3"/>
    <p:sldLayoutId id="2147485957" r:id="rId4"/>
    <p:sldLayoutId id="2147485958" r:id="rId5"/>
    <p:sldLayoutId id="2147485959" r:id="rId6"/>
    <p:sldLayoutId id="2147485960" r:id="rId7"/>
    <p:sldLayoutId id="2147485961" r:id="rId8"/>
    <p:sldLayoutId id="2147485962" r:id="rId9"/>
    <p:sldLayoutId id="2147485963" r:id="rId10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2"/>
          <p:cNvSpPr>
            <a:spLocks noChangeArrowheads="1"/>
          </p:cNvSpPr>
          <p:nvPr userDrawn="1"/>
        </p:nvSpPr>
        <p:spPr bwMode="auto">
          <a:xfrm>
            <a:off x="0" y="6045200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noFill/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30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r">
              <a:spcBef>
                <a:spcPct val="0"/>
              </a:spcBef>
              <a:buFontTx/>
              <a:buNone/>
            </a:pPr>
            <a:fld id="{CDBE1076-A1D7-4F99-924E-A87047606F55}" type="slidenum">
              <a:rPr lang="en-US" sz="1200" b="1">
                <a:solidFill>
                  <a:schemeClr val="bg1">
                    <a:lumMod val="85000"/>
                  </a:schemeClr>
                </a:solidFill>
              </a:rPr>
              <a:pPr algn="r">
                <a:spcBef>
                  <a:spcPct val="0"/>
                </a:spcBef>
                <a:buFontTx/>
                <a:buNone/>
              </a:pPr>
              <a:t>‹#›</a:t>
            </a:fld>
            <a:endParaRPr lang="en-US" sz="1200" b="1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1031" name="Group 25"/>
          <p:cNvGrpSpPr>
            <a:grpSpLocks/>
          </p:cNvGrpSpPr>
          <p:nvPr/>
        </p:nvGrpSpPr>
        <p:grpSpPr bwMode="auto">
          <a:xfrm>
            <a:off x="5708650" y="6089811"/>
            <a:ext cx="2047875" cy="661988"/>
            <a:chOff x="3596" y="3858"/>
            <a:chExt cx="1290" cy="417"/>
          </a:xfrm>
        </p:grpSpPr>
        <p:pic>
          <p:nvPicPr>
            <p:cNvPr id="2" name="Picture 26" descr="NEW FAA LOGO"/>
            <p:cNvPicPr>
              <a:picLocks noChangeAspect="1" noChangeArrowheads="1"/>
            </p:cNvPicPr>
            <p:nvPr userDrawn="1"/>
          </p:nvPicPr>
          <p:blipFill>
            <a:blip r:embed="rId14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5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spcBef>
                  <a:spcPct val="0"/>
                </a:spcBef>
                <a:buFontTx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Administration</a:t>
              </a:r>
            </a:p>
          </p:txBody>
        </p:sp>
      </p:grpSp>
      <p:sp>
        <p:nvSpPr>
          <p:cNvPr id="1033" name="Text Box 30"/>
          <p:cNvSpPr txBox="1">
            <a:spLocks noChangeArrowheads="1"/>
          </p:cNvSpPr>
          <p:nvPr/>
        </p:nvSpPr>
        <p:spPr bwMode="auto">
          <a:xfrm>
            <a:off x="441325" y="6203950"/>
            <a:ext cx="3740150" cy="515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  <a:defRPr/>
            </a:pPr>
            <a:r>
              <a:rPr lang="en-US" sz="1050" b="1" dirty="0">
                <a:solidFill>
                  <a:schemeClr val="bg1">
                    <a:lumMod val="85000"/>
                  </a:schemeClr>
                </a:solidFill>
              </a:rPr>
              <a:t>UAS Funding</a:t>
            </a:r>
          </a:p>
          <a:p>
            <a:pPr eaLnBrk="1" hangingPunct="1">
              <a:buFontTx/>
              <a:buNone/>
              <a:defRPr/>
            </a:pPr>
            <a:r>
              <a:rPr lang="en-US" sz="1050" b="1" dirty="0">
                <a:solidFill>
                  <a:schemeClr val="bg1">
                    <a:lumMod val="85000"/>
                  </a:schemeClr>
                </a:solidFill>
              </a:rPr>
              <a:t>January 31, 2017</a:t>
            </a:r>
          </a:p>
        </p:txBody>
      </p:sp>
    </p:spTree>
    <p:extLst>
      <p:ext uri="{BB962C8B-B14F-4D97-AF65-F5344CB8AC3E}">
        <p14:creationId xmlns:p14="http://schemas.microsoft.com/office/powerpoint/2010/main" val="1973015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6" r:id="rId1"/>
    <p:sldLayoutId id="2147485967" r:id="rId2"/>
    <p:sldLayoutId id="2147485968" r:id="rId3"/>
    <p:sldLayoutId id="2147485969" r:id="rId4"/>
    <p:sldLayoutId id="2147485970" r:id="rId5"/>
    <p:sldLayoutId id="2147485971" r:id="rId6"/>
    <p:sldLayoutId id="2147485972" r:id="rId7"/>
    <p:sldLayoutId id="2147485973" r:id="rId8"/>
    <p:sldLayoutId id="2147485974" r:id="rId9"/>
    <p:sldLayoutId id="2147485975" r:id="rId10"/>
    <p:sldLayoutId id="2147485976" r:id="rId11"/>
    <p:sldLayoutId id="214748597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 b="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 b="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b="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b="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5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1"/>
          <p:cNvSpPr txBox="1">
            <a:spLocks noChangeArrowheads="1"/>
          </p:cNvSpPr>
          <p:nvPr/>
        </p:nvSpPr>
        <p:spPr>
          <a:xfrm>
            <a:off x="3429000" y="6354763"/>
            <a:ext cx="5181600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400" i="1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sz="105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42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229600" y="6553200"/>
            <a:ext cx="457200" cy="3000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750">
                <a:solidFill>
                  <a:srgbClr val="000000"/>
                </a:solidFill>
                <a:latin typeface="+mn-lt"/>
              </a:defRPr>
            </a:lvl1pPr>
          </a:lstStyle>
          <a:p>
            <a:fld id="{7318C44E-EBDF-4DE8-B44B-D48E08BF2BA2}" type="slidenum">
              <a:rPr lang="en-US" smtClean="0"/>
              <a:t>‹#›</a:t>
            </a:fld>
            <a:endParaRPr lang="en-US"/>
          </a:p>
        </p:txBody>
      </p:sp>
      <p:pic>
        <p:nvPicPr>
          <p:cNvPr id="1030" name="Picture 8" descr="RTCA Logo dots only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5080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7931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9" r:id="rId1"/>
    <p:sldLayoutId id="2147485980" r:id="rId2"/>
    <p:sldLayoutId id="2147485981" r:id="rId3"/>
    <p:sldLayoutId id="2147485982" r:id="rId4"/>
    <p:sldLayoutId id="2147485983" r:id="rId5"/>
    <p:sldLayoutId id="2147485984" r:id="rId6"/>
    <p:sldLayoutId id="2147485985" r:id="rId7"/>
    <p:sldLayoutId id="2147485986" r:id="rId8"/>
    <p:sldLayoutId id="2147485987" r:id="rId9"/>
    <p:sldLayoutId id="2147485988" r:id="rId10"/>
    <p:sldLayoutId id="2147485989" r:id="rId11"/>
  </p:sldLayoutIdLst>
  <p:transition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700">
          <a:solidFill>
            <a:srgbClr val="0000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257175" indent="-257175" algn="l" rtl="0" eaLnBrk="1" fontAlgn="base" hangingPunct="1">
        <a:spcBef>
          <a:spcPts val="900"/>
        </a:spcBef>
        <a:spcAft>
          <a:spcPct val="0"/>
        </a:spcAft>
        <a:buClr>
          <a:srgbClr val="000000"/>
        </a:buClr>
        <a:buSzPct val="60000"/>
        <a:buBlip>
          <a:blip r:embed="rId14"/>
        </a:buBlip>
        <a:defRPr sz="2100">
          <a:solidFill>
            <a:srgbClr val="000000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ts val="675"/>
        </a:spcBef>
        <a:spcAft>
          <a:spcPct val="0"/>
        </a:spcAft>
        <a:buClr>
          <a:srgbClr val="000000"/>
        </a:buClr>
        <a:buFont typeface="Arial" charset="0"/>
        <a:buChar char="•"/>
        <a:defRPr sz="1800">
          <a:solidFill>
            <a:srgbClr val="000000"/>
          </a:solidFill>
          <a:latin typeface="+mn-lt"/>
        </a:defRPr>
      </a:lvl2pPr>
      <a:lvl3pPr marL="857250" indent="-171450" algn="l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 sz="1650">
          <a:solidFill>
            <a:srgbClr val="000000"/>
          </a:solidFill>
          <a:latin typeface="+mn-lt"/>
        </a:defRPr>
      </a:lvl3pPr>
      <a:lvl4pPr marL="1200150" indent="-171450" algn="l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Font typeface="Arial" charset="0"/>
        <a:buChar char="•"/>
        <a:defRPr sz="1500">
          <a:solidFill>
            <a:srgbClr val="000000"/>
          </a:solidFill>
          <a:latin typeface="+mn-lt"/>
        </a:defRPr>
      </a:lvl4pPr>
      <a:lvl5pPr marL="1543050" indent="-171450" algn="l" rtl="0" eaLnBrk="1" fontAlgn="base" hangingPunct="1">
        <a:spcBef>
          <a:spcPts val="225"/>
        </a:spcBef>
        <a:spcAft>
          <a:spcPct val="0"/>
        </a:spcAft>
        <a:buClr>
          <a:srgbClr val="000000"/>
        </a:buClr>
        <a:buSzPct val="60000"/>
        <a:buFont typeface="Arial" charset="0"/>
        <a:buChar char="•"/>
        <a:defRPr>
          <a:solidFill>
            <a:srgbClr val="000000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15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32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563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9463" y="6248400"/>
            <a:ext cx="173736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pPr fontAlgn="base">
              <a:spcAft>
                <a:spcPct val="0"/>
              </a:spcAft>
            </a:pPr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14356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pPr fontAlgn="base">
              <a:spcAft>
                <a:spcPct val="0"/>
              </a:spcAft>
            </a:pPr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51165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chemeClr val="bg1">
                    <a:lumMod val="65000"/>
                  </a:schemeClr>
                </a:solidFill>
                <a:latin typeface="Times New Roman" pitchFamily="18" charset="0"/>
              </a:defRPr>
            </a:lvl1pPr>
          </a:lstStyle>
          <a:p>
            <a:pPr fontAlgn="base">
              <a:spcAft>
                <a:spcPct val="0"/>
              </a:spcAft>
            </a:pPr>
            <a:fld id="{74438B1A-AF1B-4C8B-993E-1BADE62A2451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grpSp>
        <p:nvGrpSpPr>
          <p:cNvPr id="56345" name="Group 25"/>
          <p:cNvGrpSpPr>
            <a:grpSpLocks/>
          </p:cNvGrpSpPr>
          <p:nvPr userDrawn="1"/>
        </p:nvGrpSpPr>
        <p:grpSpPr bwMode="auto">
          <a:xfrm>
            <a:off x="5708650" y="6126158"/>
            <a:ext cx="2047875" cy="660400"/>
            <a:chOff x="3596" y="3859"/>
            <a:chExt cx="1290" cy="416"/>
          </a:xfrm>
        </p:grpSpPr>
        <p:pic>
          <p:nvPicPr>
            <p:cNvPr id="56346" name="Picture 26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96" y="3859"/>
              <a:ext cx="416" cy="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34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56349" name="Text Box 29" hidden="1"/>
          <p:cNvSpPr txBox="1">
            <a:spLocks noChangeArrowheads="1"/>
          </p:cNvSpPr>
          <p:nvPr userDrawn="1"/>
        </p:nvSpPr>
        <p:spPr bwMode="auto">
          <a:xfrm>
            <a:off x="449263" y="6205538"/>
            <a:ext cx="47847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56350" name="Text Box 30" hidden="1"/>
          <p:cNvSpPr txBox="1">
            <a:spLocks noChangeArrowheads="1"/>
          </p:cNvSpPr>
          <p:nvPr userDrawn="1"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  <p:extLst>
      <p:ext uri="{BB962C8B-B14F-4D97-AF65-F5344CB8AC3E}">
        <p14:creationId xmlns:p14="http://schemas.microsoft.com/office/powerpoint/2010/main" val="3742387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5" r:id="rId1"/>
    <p:sldLayoutId id="2147486006" r:id="rId2"/>
    <p:sldLayoutId id="2147486007" r:id="rId3"/>
    <p:sldLayoutId id="2147486008" r:id="rId4"/>
    <p:sldLayoutId id="2147486009" r:id="rId5"/>
    <p:sldLayoutId id="2147486010" r:id="rId6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5" y="344488"/>
            <a:ext cx="84724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it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508125"/>
            <a:ext cx="8050213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lect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latin typeface="Times New Roman" pitchFamily="18" charset="0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latin typeface="Times New Roman" pitchFamily="18" charset="0"/>
                <a:cs typeface="+mn-cs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ct val="0"/>
              </a:spcBef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  <a:latin typeface="Times New Roman" pitchFamily="18" charset="0"/>
                <a:cs typeface="+mn-cs"/>
              </a:defRPr>
            </a:lvl1pPr>
          </a:lstStyle>
          <a:p>
            <a:fld id="{CDF58BD2-86B7-47B6-AFD4-34AA5C6F893B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31" name="Rectangle 12"/>
          <p:cNvSpPr>
            <a:spLocks noChangeArrowheads="1"/>
          </p:cNvSpPr>
          <p:nvPr/>
        </p:nvSpPr>
        <p:spPr bwMode="auto">
          <a:xfrm>
            <a:off x="0" y="603567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032" name="Group 25"/>
          <p:cNvGrpSpPr>
            <a:grpSpLocks/>
          </p:cNvGrpSpPr>
          <p:nvPr/>
        </p:nvGrpSpPr>
        <p:grpSpPr bwMode="auto">
          <a:xfrm>
            <a:off x="5708650" y="6124575"/>
            <a:ext cx="2047875" cy="661988"/>
            <a:chOff x="3596" y="3858"/>
            <a:chExt cx="1290" cy="417"/>
          </a:xfrm>
        </p:grpSpPr>
        <p:pic>
          <p:nvPicPr>
            <p:cNvPr id="1036" name="Picture 26" descr="NEW FAA LOGO"/>
            <p:cNvPicPr>
              <a:picLocks noChangeAspect="1" noChangeArrowheads="1"/>
            </p:cNvPicPr>
            <p:nvPr userDrawn="1"/>
          </p:nvPicPr>
          <p:blipFill>
            <a:blip r:embed="rId12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prstClr val="white"/>
                  </a:solidFill>
                </a:rPr>
                <a:t>Federal Aviation</a:t>
              </a:r>
            </a:p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prstClr val="white"/>
                  </a:solidFill>
                </a:rPr>
                <a:t>Administration</a:t>
              </a:r>
            </a:p>
          </p:txBody>
        </p:sp>
      </p:grpSp>
      <p:sp>
        <p:nvSpPr>
          <p:cNvPr id="1035" name="Text Box 33"/>
          <p:cNvSpPr txBox="1">
            <a:spLocks noChangeArrowheads="1"/>
          </p:cNvSpPr>
          <p:nvPr/>
        </p:nvSpPr>
        <p:spPr bwMode="auto">
          <a:xfrm rot="10800000" flipV="1">
            <a:off x="8170863" y="6324600"/>
            <a:ext cx="9429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BE57A294-C475-4EB4-80AD-4A3D3BD0194F}" type="slidenum">
              <a:rPr lang="en-US" sz="1200" b="1">
                <a:solidFill>
                  <a:srgbClr val="C0C0C0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400800" y="6553200"/>
            <a:ext cx="2308225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C0C0C0"/>
                </a:solidFill>
                <a:latin typeface="Arial"/>
              </a:rPr>
              <a:t>www.faa.gov/ua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4800" y="6248400"/>
            <a:ext cx="274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white">
                    <a:lumMod val="85000"/>
                  </a:prstClr>
                </a:solidFill>
                <a:latin typeface="Arial"/>
              </a:rPr>
              <a:t>May 3, 2017 Drone Advisory Committee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dirty="0">
                <a:solidFill>
                  <a:prstClr val="white">
                    <a:lumMod val="85000"/>
                  </a:prstClr>
                </a:solidFill>
                <a:latin typeface="Arial"/>
              </a:rPr>
              <a:t>FAA Update</a:t>
            </a:r>
          </a:p>
        </p:txBody>
      </p:sp>
    </p:spTree>
    <p:extLst>
      <p:ext uri="{BB962C8B-B14F-4D97-AF65-F5344CB8AC3E}">
        <p14:creationId xmlns:p14="http://schemas.microsoft.com/office/powerpoint/2010/main" val="65145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2" r:id="rId1"/>
    <p:sldLayoutId id="2147486013" r:id="rId2"/>
    <p:sldLayoutId id="2147486014" r:id="rId3"/>
    <p:sldLayoutId id="2147486015" r:id="rId4"/>
    <p:sldLayoutId id="2147486016" r:id="rId5"/>
    <p:sldLayoutId id="2147486017" r:id="rId6"/>
    <p:sldLayoutId id="2147486018" r:id="rId7"/>
    <p:sldLayoutId id="2147486019" r:id="rId8"/>
    <p:sldLayoutId id="2147486020" r:id="rId9"/>
    <p:sldLayoutId id="2147486021" r:id="rId10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58803" y="436563"/>
            <a:ext cx="80613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8800" y="1206501"/>
            <a:ext cx="8050213" cy="458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b="0" i="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b="0" i="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0" i="0">
                <a:solidFill>
                  <a:srgbClr val="FFFFFF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E6D726DD-ECD8-475F-8798-B8DFADA303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20000"/>
              </a:spcBef>
              <a:buFontTx/>
              <a:buChar char="•"/>
              <a:defRPr/>
            </a:pPr>
            <a:endParaRPr lang="en-US" sz="1100" b="1" i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66568" name="Group 12"/>
          <p:cNvGrpSpPr>
            <a:grpSpLocks/>
          </p:cNvGrpSpPr>
          <p:nvPr/>
        </p:nvGrpSpPr>
        <p:grpSpPr bwMode="auto">
          <a:xfrm>
            <a:off x="6804028" y="6051560"/>
            <a:ext cx="1971676" cy="614363"/>
            <a:chOff x="3846" y="3866"/>
            <a:chExt cx="1242" cy="387"/>
          </a:xfrm>
        </p:grpSpPr>
        <p:sp>
          <p:nvSpPr>
            <p:cNvPr id="1033" name="Text Box 9"/>
            <p:cNvSpPr txBox="1">
              <a:spLocks noChangeArrowheads="1"/>
            </p:cNvSpPr>
            <p:nvPr userDrawn="1"/>
          </p:nvSpPr>
          <p:spPr bwMode="auto">
            <a:xfrm>
              <a:off x="4225" y="3949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  <p:pic>
          <p:nvPicPr>
            <p:cNvPr id="66574" name="Picture 10" descr="NEW FAA LOGO"/>
            <p:cNvPicPr>
              <a:picLocks noChangeAspect="1" noChangeArrowheads="1"/>
            </p:cNvPicPr>
            <p:nvPr userDrawn="1"/>
          </p:nvPicPr>
          <p:blipFill>
            <a:blip r:embed="rId14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846" y="3866"/>
              <a:ext cx="386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67500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en-US" sz="1400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338139" y="6459548"/>
            <a:ext cx="442753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1200" dirty="0">
                <a:solidFill>
                  <a:srgbClr val="B2B2B2"/>
                </a:solidFill>
                <a:latin typeface="Times New Roman" pitchFamily="18" charset="0"/>
              </a:rPr>
              <a:t>March 15, 2011</a:t>
            </a:r>
          </a:p>
        </p:txBody>
      </p:sp>
      <p:sp>
        <p:nvSpPr>
          <p:cNvPr id="1039" name="Text Box 15"/>
          <p:cNvSpPr txBox="1">
            <a:spLocks noChangeArrowheads="1"/>
          </p:cNvSpPr>
          <p:nvPr/>
        </p:nvSpPr>
        <p:spPr bwMode="auto">
          <a:xfrm>
            <a:off x="350843" y="6115050"/>
            <a:ext cx="5950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FFFFFF"/>
                </a:solidFill>
                <a:latin typeface="Times New Roman" pitchFamily="18" charset="0"/>
              </a:rPr>
              <a:t>2020</a:t>
            </a:r>
          </a:p>
        </p:txBody>
      </p:sp>
      <p:sp>
        <p:nvSpPr>
          <p:cNvPr id="3" name="Text Box 14"/>
          <p:cNvSpPr txBox="1">
            <a:spLocks noChangeArrowheads="1"/>
          </p:cNvSpPr>
          <p:nvPr/>
        </p:nvSpPr>
        <p:spPr bwMode="auto">
          <a:xfrm>
            <a:off x="4464055" y="6218238"/>
            <a:ext cx="2778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altLang="en-US" sz="1400" dirty="0">
                <a:solidFill>
                  <a:srgbClr val="B2B2B2"/>
                </a:solidFill>
                <a:latin typeface="Times New Roman" pitchFamily="18" charset="0"/>
              </a:rPr>
              <a:t>6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5" r:id="rId1"/>
    <p:sldLayoutId id="2147484940" r:id="rId2"/>
    <p:sldLayoutId id="2147484864" r:id="rId3"/>
    <p:sldLayoutId id="2147484863" r:id="rId4"/>
    <p:sldLayoutId id="2147484862" r:id="rId5"/>
    <p:sldLayoutId id="2147484941" r:id="rId6"/>
    <p:sldLayoutId id="2147484942" r:id="rId7"/>
    <p:sldLayoutId id="2147484861" r:id="rId8"/>
    <p:sldLayoutId id="2147484860" r:id="rId9"/>
    <p:sldLayoutId id="2147484859" r:id="rId10"/>
    <p:sldLayoutId id="2147484858" r:id="rId11"/>
    <p:sldLayoutId id="214748494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604203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57200">
              <a:defRPr/>
            </a:pPr>
            <a:endParaRPr lang="en-US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163513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098550"/>
            <a:ext cx="8050213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293" name="Text Box 5"/>
          <p:cNvSpPr txBox="1">
            <a:spLocks noChangeArrowheads="1"/>
          </p:cNvSpPr>
          <p:nvPr/>
        </p:nvSpPr>
        <p:spPr bwMode="white">
          <a:xfrm>
            <a:off x="449264" y="6205548"/>
            <a:ext cx="47847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spcBef>
                <a:spcPct val="50000"/>
              </a:spcBef>
              <a:defRPr/>
            </a:pPr>
            <a:r>
              <a:rPr lang="en-US" sz="1200" b="0" dirty="0">
                <a:solidFill>
                  <a:srgbClr val="FFFFFF"/>
                </a:solidFill>
              </a:rPr>
              <a:t>NMB/NRB FY11 Oversight and Decision-making Work Plan</a:t>
            </a: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>
              <a:defRPr/>
            </a:pPr>
            <a:fld id="{FB4D1444-99E7-46EC-8446-C049B4D10762}" type="slidenum">
              <a:rPr lang="en-US" sz="1200" b="1">
                <a:solidFill>
                  <a:srgbClr val="FFFFFF"/>
                </a:solidFill>
                <a:ea typeface="ＭＳ Ｐゴシック" charset="-128"/>
              </a:rPr>
              <a:pPr algn="r" defTabSz="457200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charset="-128"/>
            </a:endParaRPr>
          </a:p>
        </p:txBody>
      </p:sp>
      <p:grpSp>
        <p:nvGrpSpPr>
          <p:cNvPr id="79879" name="Group 7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79881" name="Picture 8" descr="NEW FAA LOGO"/>
            <p:cNvPicPr>
              <a:picLocks noChangeAspect="1" noChangeArrowheads="1"/>
            </p:cNvPicPr>
            <p:nvPr userDrawn="1"/>
          </p:nvPicPr>
          <p:blipFill>
            <a:blip r:embed="rId14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4" name="Text Box 9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Federal Aviation</a:t>
              </a:r>
            </a:p>
            <a:p>
              <a:pPr defTabSz="457200" eaLnBrk="1" hangingPunct="1">
                <a:lnSpc>
                  <a:spcPct val="85000"/>
                </a:lnSpc>
                <a:defRPr/>
              </a:pPr>
              <a:r>
                <a:rPr lang="en-US" sz="1200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1032" name="Text Box 10"/>
          <p:cNvSpPr txBox="1">
            <a:spLocks noChangeArrowheads="1"/>
          </p:cNvSpPr>
          <p:nvPr/>
        </p:nvSpPr>
        <p:spPr bwMode="white">
          <a:xfrm>
            <a:off x="442916" y="6473825"/>
            <a:ext cx="4784725" cy="2746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457200" eaLnBrk="1" hangingPunct="1">
              <a:spcBef>
                <a:spcPct val="50000"/>
              </a:spcBef>
              <a:defRPr/>
            </a:pPr>
            <a:r>
              <a:rPr lang="en-US" sz="1200" b="0" dirty="0">
                <a:solidFill>
                  <a:srgbClr val="FFFFFF"/>
                </a:solidFill>
              </a:rPr>
              <a:t>January 24, 2011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44" r:id="rId1"/>
    <p:sldLayoutId id="2147484876" r:id="rId2"/>
    <p:sldLayoutId id="2147484875" r:id="rId3"/>
    <p:sldLayoutId id="2147484874" r:id="rId4"/>
    <p:sldLayoutId id="2147484873" r:id="rId5"/>
    <p:sldLayoutId id="2147484872" r:id="rId6"/>
    <p:sldLayoutId id="2147484871" r:id="rId7"/>
    <p:sldLayoutId id="2147484870" r:id="rId8"/>
    <p:sldLayoutId id="2147484869" r:id="rId9"/>
    <p:sldLayoutId id="2147484868" r:id="rId10"/>
    <p:sldLayoutId id="2147484867" r:id="rId11"/>
    <p:sldLayoutId id="214748486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+mj-lt"/>
          <a:ea typeface="ＭＳ Ｐゴシック" pitchFamily="-65" charset="-128"/>
          <a:cs typeface="ＭＳ Ｐゴシック" pitchFamily="-65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D2F68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1D2F68"/>
          </a:solidFill>
          <a:latin typeface="Arial" pitchFamily="-65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ＭＳ Ｐゴシック" pitchFamily="-65" charset="-128"/>
          <a:cs typeface="ＭＳ Ｐゴシック" pitchFamily="-65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ＭＳ Ｐゴシック" pitchFamily="-65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9318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329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3C3D7F78-309B-4BCC-B4AB-AE09282A57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1" name="Rectangle 12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032" name="Rectangle 17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algn="r">
              <a:defRPr/>
            </a:pPr>
            <a:fld id="{B51625DB-A153-48E8-BDD5-735C5584AB00}" type="slidenum">
              <a:rPr lang="en-US" sz="1200" b="1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</a:endParaRPr>
          </a:p>
        </p:txBody>
      </p:sp>
      <p:grpSp>
        <p:nvGrpSpPr>
          <p:cNvPr id="93193" name="Group 25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93196" name="Picture 26" descr="NEW FAA LOGO"/>
            <p:cNvPicPr>
              <a:picLocks noChangeAspect="1" noChangeArrowheads="1"/>
            </p:cNvPicPr>
            <p:nvPr userDrawn="1"/>
          </p:nvPicPr>
          <p:blipFill>
            <a:blip r:embed="rId13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7" name="Text Box 27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 eaLnBrk="1" hangingPunct="1"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1034" name="Text Box 29"/>
          <p:cNvSpPr txBox="1">
            <a:spLocks noChangeArrowheads="1"/>
          </p:cNvSpPr>
          <p:nvPr/>
        </p:nvSpPr>
        <p:spPr bwMode="auto">
          <a:xfrm>
            <a:off x="449264" y="6205548"/>
            <a:ext cx="4784725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C0C0C0"/>
                </a:solidFill>
              </a:rPr>
              <a:t>&lt;Presentation Title – Change on Master Slide&gt;</a:t>
            </a:r>
            <a:endParaRPr lang="en-US" sz="1200" dirty="0">
              <a:solidFill>
                <a:srgbClr val="C0C0C0"/>
              </a:solidFill>
            </a:endParaRPr>
          </a:p>
        </p:txBody>
      </p:sp>
      <p:sp>
        <p:nvSpPr>
          <p:cNvPr id="1035" name="Text Box 30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200" dirty="0">
                <a:solidFill>
                  <a:srgbClr val="C0C0C0"/>
                </a:solidFill>
              </a:rPr>
              <a:t>&lt;Date of Presentation – Change on Master Slide&gt;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882" r:id="rId3"/>
    <p:sldLayoutId id="2147484881" r:id="rId4"/>
    <p:sldLayoutId id="2147484880" r:id="rId5"/>
    <p:sldLayoutId id="2147484879" r:id="rId6"/>
    <p:sldLayoutId id="2147484878" r:id="rId7"/>
    <p:sldLayoutId id="2147484877" r:id="rId8"/>
    <p:sldLayoutId id="2147484947" r:id="rId9"/>
    <p:sldLayoutId id="2147484948" r:id="rId10"/>
    <p:sldLayoutId id="214748494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8626" y="344488"/>
            <a:ext cx="84724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itle</a:t>
            </a:r>
          </a:p>
        </p:txBody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5" y="1508127"/>
            <a:ext cx="8050213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elect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79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40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79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 dirty="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79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>
                <a:solidFill>
                  <a:srgbClr val="FFFFFF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AC306F0-5E11-4C61-807C-F9153AF7C0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37927" name="Rectangle 7"/>
          <p:cNvSpPr>
            <a:spLocks noChangeArrowheads="1"/>
          </p:cNvSpPr>
          <p:nvPr/>
        </p:nvSpPr>
        <p:spPr bwMode="auto">
          <a:xfrm>
            <a:off x="0" y="6035685"/>
            <a:ext cx="9144000" cy="815975"/>
          </a:xfrm>
          <a:prstGeom prst="rect">
            <a:avLst/>
          </a:prstGeom>
          <a:solidFill>
            <a:srgbClr val="1D2F68"/>
          </a:solidFill>
          <a:ln w="9525">
            <a:solidFill>
              <a:srgbClr val="1D2F68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37928" name="Rectangle 8"/>
          <p:cNvSpPr>
            <a:spLocks noChangeArrowheads="1"/>
          </p:cNvSpPr>
          <p:nvPr/>
        </p:nvSpPr>
        <p:spPr bwMode="auto">
          <a:xfrm>
            <a:off x="6940550" y="630555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fld id="{7A39F210-A2B5-425C-82C6-F7AE367BBD74}" type="slidenum">
              <a:rPr lang="en-US" sz="1200" b="1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</a:endParaRPr>
          </a:p>
        </p:txBody>
      </p:sp>
      <p:grpSp>
        <p:nvGrpSpPr>
          <p:cNvPr id="105481" name="Group 9"/>
          <p:cNvGrpSpPr>
            <a:grpSpLocks/>
          </p:cNvGrpSpPr>
          <p:nvPr/>
        </p:nvGrpSpPr>
        <p:grpSpPr bwMode="auto">
          <a:xfrm>
            <a:off x="5708660" y="6124575"/>
            <a:ext cx="2047877" cy="661988"/>
            <a:chOff x="3596" y="3858"/>
            <a:chExt cx="1290" cy="417"/>
          </a:xfrm>
        </p:grpSpPr>
        <p:pic>
          <p:nvPicPr>
            <p:cNvPr id="105483" name="Picture 10" descr="NEW FAA LOGO"/>
            <p:cNvPicPr>
              <a:picLocks noChangeAspect="1" noChangeArrowheads="1"/>
            </p:cNvPicPr>
            <p:nvPr userDrawn="1"/>
          </p:nvPicPr>
          <p:blipFill>
            <a:blip r:embed="rId15">
              <a:clrChange>
                <a:clrFrom>
                  <a:srgbClr val="DF1F06"/>
                </a:clrFrom>
                <a:clrTo>
                  <a:srgbClr val="DF1F06">
                    <a:alpha val="0"/>
                  </a:srgbClr>
                </a:clrTo>
              </a:clrChange>
            </a:blip>
            <a:srcRect l="14333" t="3734" r="14973" b="4564"/>
            <a:stretch>
              <a:fillRect/>
            </a:stretch>
          </p:blipFill>
          <p:spPr bwMode="auto">
            <a:xfrm>
              <a:off x="3596" y="3858"/>
              <a:ext cx="416" cy="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7931" name="Text Box 11"/>
            <p:cNvSpPr txBox="1">
              <a:spLocks noChangeArrowheads="1"/>
            </p:cNvSpPr>
            <p:nvPr userDrawn="1"/>
          </p:nvSpPr>
          <p:spPr bwMode="auto">
            <a:xfrm>
              <a:off x="4023" y="3947"/>
              <a:ext cx="863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Federal Aviation</a:t>
              </a:r>
            </a:p>
            <a:p>
              <a:pPr>
                <a:lnSpc>
                  <a:spcPct val="85000"/>
                </a:lnSpc>
                <a:defRPr/>
              </a:pPr>
              <a:r>
                <a:rPr lang="en-US" sz="1200" b="1" dirty="0">
                  <a:solidFill>
                    <a:srgbClr val="FFFFFF"/>
                  </a:solidFill>
                </a:rPr>
                <a:t>Administration</a:t>
              </a:r>
            </a:p>
          </p:txBody>
        </p:sp>
      </p:grpSp>
      <p:sp>
        <p:nvSpPr>
          <p:cNvPr id="337933" name="Text Box 13"/>
          <p:cNvSpPr txBox="1">
            <a:spLocks noChangeArrowheads="1"/>
          </p:cNvSpPr>
          <p:nvPr/>
        </p:nvSpPr>
        <p:spPr bwMode="auto">
          <a:xfrm>
            <a:off x="441325" y="6384925"/>
            <a:ext cx="37401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200" dirty="0">
                <a:solidFill>
                  <a:srgbClr val="C0C0C0"/>
                </a:solidFill>
              </a:rPr>
              <a:t>29 June 201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50" r:id="rId1"/>
    <p:sldLayoutId id="2147484951" r:id="rId2"/>
    <p:sldLayoutId id="2147484952" r:id="rId3"/>
    <p:sldLayoutId id="2147484953" r:id="rId4"/>
    <p:sldLayoutId id="2147484954" r:id="rId5"/>
    <p:sldLayoutId id="2147484955" r:id="rId6"/>
    <p:sldLayoutId id="2147484956" r:id="rId7"/>
    <p:sldLayoutId id="2147484957" r:id="rId8"/>
    <p:sldLayoutId id="2147484958" r:id="rId9"/>
    <p:sldLayoutId id="2147484959" r:id="rId10"/>
    <p:sldLayoutId id="2147484960" r:id="rId11"/>
    <p:sldLayoutId id="2147484961" r:id="rId12"/>
    <p:sldLayoutId id="214748496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1D2F6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7" name="Title 1"/>
          <p:cNvSpPr>
            <a:spLocks noGrp="1"/>
          </p:cNvSpPr>
          <p:nvPr>
            <p:ph type="title"/>
          </p:nvPr>
        </p:nvSpPr>
        <p:spPr>
          <a:xfrm>
            <a:off x="685800" y="4267200"/>
            <a:ext cx="7772400" cy="1676400"/>
          </a:xfrm>
        </p:spPr>
        <p:txBody>
          <a:bodyPr/>
          <a:lstStyle/>
          <a:p>
            <a:r>
              <a:rPr lang="en-US" sz="3200" dirty="0"/>
              <a:t>Welcome to the Meeting of the </a:t>
            </a:r>
            <a:br>
              <a:rPr lang="en-US" sz="3200" dirty="0"/>
            </a:br>
            <a:r>
              <a:rPr lang="en-US" sz="3200" dirty="0"/>
              <a:t>Drone Advisory Committee</a:t>
            </a:r>
            <a:br>
              <a:rPr lang="en-US" sz="3200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21538" name="Text Placeholder 2"/>
          <p:cNvSpPr>
            <a:spLocks noGrp="1"/>
          </p:cNvSpPr>
          <p:nvPr>
            <p:ph type="body" idx="1"/>
          </p:nvPr>
        </p:nvSpPr>
        <p:spPr>
          <a:xfrm>
            <a:off x="3733800" y="5819104"/>
            <a:ext cx="5715000" cy="1066800"/>
          </a:xfrm>
        </p:spPr>
        <p:txBody>
          <a:bodyPr anchor="t"/>
          <a:lstStyle/>
          <a:p>
            <a:pPr algn="l">
              <a:spcBef>
                <a:spcPct val="0"/>
              </a:spcBef>
            </a:pPr>
            <a:r>
              <a:rPr lang="en-US" sz="2000" dirty="0"/>
              <a:t>July 21, 2017</a:t>
            </a:r>
          </a:p>
          <a:p>
            <a:pPr algn="l">
              <a:spcBef>
                <a:spcPct val="0"/>
              </a:spcBef>
            </a:pPr>
            <a:r>
              <a:rPr lang="en-US" sz="2000" dirty="0"/>
              <a:t>Virtual Meeting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95600"/>
            <a:ext cx="8153400" cy="1470025"/>
          </a:xfrm>
        </p:spPr>
        <p:txBody>
          <a:bodyPr/>
          <a:lstStyle/>
          <a:p>
            <a:r>
              <a:rPr lang="en-US" dirty="0"/>
              <a:t>Discussion of </a:t>
            </a:r>
            <a:r>
              <a:rPr lang="en-US"/>
              <a:t>TG1 Status </a:t>
            </a:r>
            <a:r>
              <a:rPr lang="en-US" dirty="0"/>
              <a:t>Report</a:t>
            </a:r>
          </a:p>
        </p:txBody>
      </p:sp>
    </p:spTree>
    <p:extLst>
      <p:ext uri="{BB962C8B-B14F-4D97-AF65-F5344CB8AC3E}">
        <p14:creationId xmlns:p14="http://schemas.microsoft.com/office/powerpoint/2010/main" val="3055789300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1" name="Title 1"/>
          <p:cNvSpPr>
            <a:spLocks noGrp="1"/>
          </p:cNvSpPr>
          <p:nvPr>
            <p:ph type="title"/>
          </p:nvPr>
        </p:nvSpPr>
        <p:spPr>
          <a:xfrm>
            <a:off x="685800" y="4114800"/>
            <a:ext cx="8229600" cy="1981200"/>
          </a:xfrm>
        </p:spPr>
        <p:txBody>
          <a:bodyPr anchor="t"/>
          <a:lstStyle/>
          <a:p>
            <a:r>
              <a:rPr lang="en-US" dirty="0"/>
              <a:t>  Closing Remarks</a:t>
            </a:r>
            <a:r>
              <a:rPr lang="en-US" sz="2400" dirty="0"/>
              <a:t>	</a:t>
            </a:r>
            <a:br>
              <a:rPr lang="en-US" sz="3200" b="1" dirty="0"/>
            </a:b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32742778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6200" y="3733800"/>
            <a:ext cx="9144000" cy="1828800"/>
          </a:xfrm>
        </p:spPr>
        <p:txBody>
          <a:bodyPr anchor="t">
            <a:normAutofit fontScale="90000"/>
          </a:bodyPr>
          <a:lstStyle/>
          <a:p>
            <a:pPr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4000" dirty="0"/>
              <a:t>Summary of Meeting and Next Steps</a:t>
            </a:r>
            <a:br>
              <a:rPr lang="en-US" sz="4000" dirty="0"/>
            </a:br>
            <a:br>
              <a:rPr lang="en-US" b="1" dirty="0"/>
            </a:br>
            <a:br>
              <a:rPr lang="en-US" sz="3100" dirty="0"/>
            </a:br>
            <a:br>
              <a:rPr lang="en-US" b="1" dirty="0"/>
            </a:br>
            <a:endParaRPr lang="en-US" sz="2800" b="1" i="1" dirty="0"/>
          </a:p>
        </p:txBody>
      </p:sp>
    </p:spTree>
    <p:extLst>
      <p:ext uri="{BB962C8B-B14F-4D97-AF65-F5344CB8AC3E}">
        <p14:creationId xmlns:p14="http://schemas.microsoft.com/office/powerpoint/2010/main" val="42465519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865187"/>
          </a:xfrm>
        </p:spPr>
        <p:txBody>
          <a:bodyPr/>
          <a:lstStyle/>
          <a:p>
            <a:r>
              <a:rPr lang="en-US" dirty="0"/>
              <a:t>Concluding Item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62000" y="1417638"/>
            <a:ext cx="8077200" cy="4714875"/>
          </a:xfrm>
        </p:spPr>
        <p:txBody>
          <a:bodyPr anchor="t"/>
          <a:lstStyle/>
          <a:p>
            <a:r>
              <a:rPr lang="en-US" sz="3200" dirty="0"/>
              <a:t>Action Items</a:t>
            </a:r>
          </a:p>
          <a:p>
            <a:r>
              <a:rPr lang="en-US" sz="3200" dirty="0"/>
              <a:t>Other Business</a:t>
            </a:r>
          </a:p>
          <a:p>
            <a:r>
              <a:rPr lang="en-US" sz="3200" dirty="0"/>
              <a:t>Remaining 2017 Meetings</a:t>
            </a:r>
          </a:p>
          <a:p>
            <a:pPr lvl="1"/>
            <a:r>
              <a:rPr lang="en-US" sz="2800" dirty="0"/>
              <a:t>November 8, 2017, Location-TB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4AF84D-E023-4155-B933-2FDD9E39EE7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03570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425" name="Title 1"/>
          <p:cNvSpPr>
            <a:spLocks noGrp="1"/>
          </p:cNvSpPr>
          <p:nvPr>
            <p:ph type="title"/>
          </p:nvPr>
        </p:nvSpPr>
        <p:spPr>
          <a:xfrm>
            <a:off x="685800" y="3276603"/>
            <a:ext cx="7772400" cy="1470025"/>
          </a:xfrm>
        </p:spPr>
        <p:txBody>
          <a:bodyPr anchor="t"/>
          <a:lstStyle/>
          <a:p>
            <a:br>
              <a:rPr lang="en-US" dirty="0"/>
            </a:br>
            <a:r>
              <a:rPr lang="en-US" dirty="0"/>
              <a:t>Adjourn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585" name="Title 1"/>
          <p:cNvSpPr>
            <a:spLocks noGrp="1"/>
          </p:cNvSpPr>
          <p:nvPr>
            <p:ph type="title"/>
          </p:nvPr>
        </p:nvSpPr>
        <p:spPr>
          <a:xfrm>
            <a:off x="685800" y="2590800"/>
            <a:ext cx="7772400" cy="3581400"/>
          </a:xfrm>
        </p:spPr>
        <p:txBody>
          <a:bodyPr/>
          <a:lstStyle/>
          <a:p>
            <a:r>
              <a:rPr lang="en-US" dirty="0"/>
              <a:t>Official Statement of the Designated Federal Officer</a:t>
            </a:r>
          </a:p>
        </p:txBody>
      </p:sp>
    </p:spTree>
    <p:extLst>
      <p:ext uri="{BB962C8B-B14F-4D97-AF65-F5344CB8AC3E}">
        <p14:creationId xmlns:p14="http://schemas.microsoft.com/office/powerpoint/2010/main" val="41838985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3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398587"/>
          </a:xfrm>
        </p:spPr>
        <p:txBody>
          <a:bodyPr/>
          <a:lstStyle/>
          <a:p>
            <a:r>
              <a:rPr lang="en-US" sz="2400" b="1" dirty="0"/>
              <a:t>PUBLIC MEETING ANNOUNCEMENT</a:t>
            </a:r>
            <a:br>
              <a:rPr lang="en-US" sz="2400" dirty="0"/>
            </a:br>
            <a:r>
              <a:rPr lang="en-US" sz="2400" b="1" dirty="0"/>
              <a:t> Read by: Designated </a:t>
            </a:r>
            <a:r>
              <a:rPr lang="en-US" sz="2400" b="1"/>
              <a:t>Federal Officer </a:t>
            </a:r>
            <a:r>
              <a:rPr lang="en-US" sz="2400" b="1" dirty="0"/>
              <a:t>Dan Elwell</a:t>
            </a:r>
            <a:br>
              <a:rPr lang="en-US" sz="2400" b="1" dirty="0"/>
            </a:br>
            <a:r>
              <a:rPr lang="en-US" sz="2400" b="1" dirty="0"/>
              <a:t>Drone Advisory Committee</a:t>
            </a:r>
            <a:br>
              <a:rPr lang="en-US" sz="2400" dirty="0"/>
            </a:br>
            <a:r>
              <a:rPr lang="en-US" sz="2400" b="1" dirty="0"/>
              <a:t> July 21, 2017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2057400"/>
            <a:ext cx="8610600" cy="4075113"/>
          </a:xfrm>
        </p:spPr>
        <p:txBody>
          <a:bodyPr anchor="t"/>
          <a:lstStyle/>
          <a:p>
            <a:pPr marL="0" indent="0">
              <a:buFontTx/>
              <a:buNone/>
              <a:defRPr/>
            </a:pPr>
            <a:r>
              <a:rPr lang="en-US" sz="2000" dirty="0">
                <a:ea typeface="Times New Roman" pitchFamily="18" charset="0"/>
              </a:rPr>
              <a:t>In accordance with the Federal Advisory Committee Act, this Advisory Committee meeting is OPEN TO THE PUBLIC.</a:t>
            </a:r>
            <a:endParaRPr lang="en-US" sz="2000" dirty="0"/>
          </a:p>
          <a:p>
            <a:pPr marL="0" indent="0">
              <a:buFontTx/>
              <a:buNone/>
              <a:defRPr/>
            </a:pPr>
            <a:r>
              <a:rPr lang="en-US" sz="2000" dirty="0">
                <a:ea typeface="Times New Roman" pitchFamily="18" charset="0"/>
              </a:rPr>
              <a:t>Notice of the meeting was published in the Federal Register on:</a:t>
            </a:r>
            <a:endParaRPr lang="en-US" sz="2000" dirty="0"/>
          </a:p>
          <a:p>
            <a:pPr marL="0" indent="0" algn="ctr">
              <a:buFontTx/>
              <a:buNone/>
              <a:defRPr/>
            </a:pPr>
            <a:r>
              <a:rPr lang="en-US" sz="2000" b="1">
                <a:solidFill>
                  <a:srgbClr val="FF0000"/>
                </a:solidFill>
                <a:ea typeface="Times New Roman" pitchFamily="18" charset="0"/>
              </a:rPr>
              <a:t>June 26, </a:t>
            </a:r>
            <a:r>
              <a:rPr lang="en-US" sz="2000" b="1" dirty="0">
                <a:solidFill>
                  <a:srgbClr val="FF0000"/>
                </a:solidFill>
                <a:ea typeface="Times New Roman" pitchFamily="18" charset="0"/>
              </a:rPr>
              <a:t>2017</a:t>
            </a:r>
            <a:endParaRPr lang="en-US" sz="2000" dirty="0">
              <a:solidFill>
                <a:srgbClr val="FF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en-US" sz="2000" dirty="0">
                <a:ea typeface="Times New Roman" pitchFamily="18" charset="0"/>
              </a:rPr>
              <a:t>Members of the public may address the committee with PRIOR APPROVAL of the Chairman.  This should be arranged in advance.</a:t>
            </a:r>
            <a:endParaRPr lang="en-US" sz="2000" dirty="0"/>
          </a:p>
          <a:p>
            <a:pPr marL="0" indent="0">
              <a:buFontTx/>
              <a:buNone/>
              <a:defRPr/>
            </a:pPr>
            <a:r>
              <a:rPr lang="en-US" sz="2000" dirty="0">
                <a:ea typeface="Times New Roman" pitchFamily="18" charset="0"/>
              </a:rPr>
              <a:t>Only appointed members of the Advisory Committee may vote on any matter brought to a vote by the Chairman.</a:t>
            </a:r>
            <a:endParaRPr lang="en-US" sz="2000" dirty="0"/>
          </a:p>
          <a:p>
            <a:pPr marL="0" indent="0">
              <a:buFontTx/>
              <a:buNone/>
              <a:defRPr/>
            </a:pPr>
            <a:r>
              <a:rPr lang="en-US" sz="2000" dirty="0">
                <a:ea typeface="Times New Roman" pitchFamily="18" charset="0"/>
              </a:rPr>
              <a:t>The public may present written material to the Advisory Committee at any time.</a:t>
            </a:r>
            <a:endParaRPr lang="en-US" sz="2000" dirty="0"/>
          </a:p>
          <a:p>
            <a:pPr>
              <a:buFontTx/>
              <a:buNone/>
              <a:defRPr/>
            </a:pPr>
            <a:endParaRPr lang="en-US" dirty="0"/>
          </a:p>
        </p:txBody>
      </p:sp>
      <p:sp>
        <p:nvSpPr>
          <p:cNvPr id="325635" name="Slide Number Placeholder 5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9DBFED6-7BDC-4029-AC24-1957D7EEC818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777" name="Title 1"/>
          <p:cNvSpPr>
            <a:spLocks noGrp="1"/>
          </p:cNvSpPr>
          <p:nvPr>
            <p:ph type="title"/>
          </p:nvPr>
        </p:nvSpPr>
        <p:spPr>
          <a:xfrm>
            <a:off x="745222" y="216017"/>
            <a:ext cx="7696200" cy="838200"/>
          </a:xfrm>
        </p:spPr>
        <p:txBody>
          <a:bodyPr anchor="t"/>
          <a:lstStyle/>
          <a:p>
            <a:r>
              <a:rPr lang="en-US" dirty="0"/>
              <a:t>DAC Agenda Top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2057400"/>
            <a:ext cx="8153400" cy="2894328"/>
          </a:xfrm>
        </p:spPr>
        <p:txBody>
          <a:bodyPr anchor="t"/>
          <a:lstStyle/>
          <a:p>
            <a:pPr>
              <a:defRPr/>
            </a:pPr>
            <a:r>
              <a:rPr lang="en-US" sz="2000" dirty="0"/>
              <a:t>Welcome and Introductions, Review of the Third DAC Meeting </a:t>
            </a:r>
          </a:p>
          <a:p>
            <a:pPr>
              <a:defRPr/>
            </a:pPr>
            <a:r>
              <a:rPr lang="en-US" sz="2000" dirty="0"/>
              <a:t>Approval of Minutes from the Third DAC Meeting 	</a:t>
            </a:r>
          </a:p>
          <a:p>
            <a:pPr>
              <a:defRPr/>
            </a:pPr>
            <a:r>
              <a:rPr lang="en-US" sz="2000" dirty="0">
                <a:solidFill>
                  <a:schemeClr val="accent4">
                    <a:lumMod val="10000"/>
                  </a:schemeClr>
                </a:solidFill>
              </a:rPr>
              <a:t>Report out of DACSC TG3 (UAS Funding) </a:t>
            </a:r>
          </a:p>
          <a:p>
            <a:pPr>
              <a:defRPr/>
            </a:pPr>
            <a:r>
              <a:rPr lang="en-US" sz="2000" dirty="0"/>
              <a:t>Discussion of Recommendations - TG3</a:t>
            </a:r>
            <a:r>
              <a:rPr lang="en-US" sz="2000" dirty="0">
                <a:solidFill>
                  <a:schemeClr val="accent4">
                    <a:lumMod val="10000"/>
                  </a:schemeClr>
                </a:solidFill>
              </a:rPr>
              <a:t> (UAS Funding) </a:t>
            </a:r>
          </a:p>
          <a:p>
            <a:pPr>
              <a:defRPr/>
            </a:pPr>
            <a:r>
              <a:rPr lang="en-US" sz="2000" dirty="0">
                <a:solidFill>
                  <a:schemeClr val="accent4">
                    <a:lumMod val="10000"/>
                  </a:schemeClr>
                </a:solidFill>
              </a:rPr>
              <a:t>Status Report of DACSC TG1 (Roles and Responsibilities) </a:t>
            </a:r>
            <a:endParaRPr lang="en-US" sz="2000" dirty="0"/>
          </a:p>
          <a:p>
            <a:pPr>
              <a:defRPr/>
            </a:pPr>
            <a:r>
              <a:rPr lang="en-US" sz="2000" dirty="0"/>
              <a:t>New Assignments/Agenda Topics/Meeting Summary</a:t>
            </a:r>
          </a:p>
          <a:p>
            <a:pPr>
              <a:defRPr/>
            </a:pPr>
            <a:r>
              <a:rPr lang="en-US" sz="2000" dirty="0"/>
              <a:t>Adjourn</a:t>
            </a:r>
            <a:endParaRPr lang="en-US" sz="1600" dirty="0"/>
          </a:p>
          <a:p>
            <a:pPr marL="0" indent="0">
              <a:buNone/>
              <a:defRPr/>
            </a:pPr>
            <a:endParaRPr lang="en-US" sz="2400" dirty="0"/>
          </a:p>
          <a:p>
            <a:pPr lvl="1">
              <a:buFont typeface="Arial" pitchFamily="34" charset="0"/>
              <a:buNone/>
              <a:defRPr/>
            </a:pPr>
            <a:endParaRPr lang="en-US" dirty="0"/>
          </a:p>
        </p:txBody>
      </p:sp>
      <p:sp>
        <p:nvSpPr>
          <p:cNvPr id="331779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BF2A1FF-BE7C-4411-A2BF-F060509462E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dirty="0"/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1" name="Title 1"/>
          <p:cNvSpPr>
            <a:spLocks noGrp="1"/>
          </p:cNvSpPr>
          <p:nvPr>
            <p:ph type="title"/>
          </p:nvPr>
        </p:nvSpPr>
        <p:spPr>
          <a:xfrm>
            <a:off x="685800" y="4114800"/>
            <a:ext cx="8229600" cy="1981200"/>
          </a:xfrm>
        </p:spPr>
        <p:txBody>
          <a:bodyPr anchor="t"/>
          <a:lstStyle/>
          <a:p>
            <a:r>
              <a:rPr lang="en-US" dirty="0"/>
              <a:t>Welcome and Introductions  </a:t>
            </a:r>
            <a:br>
              <a:rPr lang="en-US" dirty="0"/>
            </a:br>
            <a:r>
              <a:rPr lang="en-US" dirty="0"/>
              <a:t>Opening Remarks</a:t>
            </a:r>
            <a:r>
              <a:rPr lang="en-US" sz="2400" dirty="0"/>
              <a:t>	</a:t>
            </a:r>
            <a:br>
              <a:rPr lang="en-US" sz="3200" b="1" dirty="0"/>
            </a:br>
            <a:endParaRPr lang="en-US" sz="3200" b="1" dirty="0"/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81" name="Title 1"/>
          <p:cNvSpPr>
            <a:spLocks noGrp="1"/>
          </p:cNvSpPr>
          <p:nvPr>
            <p:ph type="title"/>
          </p:nvPr>
        </p:nvSpPr>
        <p:spPr>
          <a:xfrm>
            <a:off x="533400" y="3429000"/>
            <a:ext cx="8229600" cy="1981200"/>
          </a:xfrm>
        </p:spPr>
        <p:txBody>
          <a:bodyPr anchor="t"/>
          <a:lstStyle/>
          <a:p>
            <a:r>
              <a:rPr lang="en-US" dirty="0"/>
              <a:t>Review and Approval of:</a:t>
            </a:r>
            <a:br>
              <a:rPr lang="en-US" sz="3200" dirty="0"/>
            </a:br>
            <a:br>
              <a:rPr lang="en-US" sz="3200" dirty="0"/>
            </a:br>
            <a:r>
              <a:rPr lang="en-US" sz="3200" dirty="0"/>
              <a:t>Minutes – May 3, 2017</a:t>
            </a:r>
            <a:br>
              <a:rPr lang="en-US" sz="2400" dirty="0"/>
            </a:br>
            <a:r>
              <a:rPr lang="en-US" sz="2400" dirty="0"/>
              <a:t>	</a:t>
            </a:r>
            <a:br>
              <a:rPr lang="en-US" sz="3200" b="1" dirty="0"/>
            </a:b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63595582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772400" cy="1102519"/>
          </a:xfrm>
        </p:spPr>
        <p:txBody>
          <a:bodyPr/>
          <a:lstStyle/>
          <a:p>
            <a:r>
              <a:rPr lang="en-US" altLang="en-US" sz="3600" dirty="0"/>
              <a:t>Report out of DACSC TG3 </a:t>
            </a:r>
            <a:br>
              <a:rPr lang="en-US" altLang="en-US" sz="3600" dirty="0"/>
            </a:br>
            <a:r>
              <a:rPr lang="en-US" altLang="en-US" sz="3600" dirty="0"/>
              <a:t>(UAS Funding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486400" y="5181600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Co-Chairs:</a:t>
            </a:r>
          </a:p>
          <a:p>
            <a:r>
              <a:rPr 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Mark Aitken, </a:t>
            </a:r>
            <a:r>
              <a:rPr lang="en-US" sz="1600" i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AUVSI </a:t>
            </a:r>
          </a:p>
          <a:p>
            <a:r>
              <a:rPr 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Howard </a:t>
            </a:r>
            <a:r>
              <a:rPr lang="en-US" sz="1600" dirty="0" err="1">
                <a:solidFill>
                  <a:srgbClr val="000000"/>
                </a:solidFill>
                <a:latin typeface="+mj-lt"/>
                <a:ea typeface="+mj-ea"/>
                <a:cs typeface="+mj-cs"/>
              </a:rPr>
              <a:t>Kass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US" sz="1600" i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American Airlines</a:t>
            </a:r>
          </a:p>
        </p:txBody>
      </p:sp>
    </p:spTree>
    <p:extLst>
      <p:ext uri="{BB962C8B-B14F-4D97-AF65-F5344CB8AC3E}">
        <p14:creationId xmlns:p14="http://schemas.microsoft.com/office/powerpoint/2010/main" val="327207980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95600"/>
            <a:ext cx="8153400" cy="1470025"/>
          </a:xfrm>
        </p:spPr>
        <p:txBody>
          <a:bodyPr/>
          <a:lstStyle/>
          <a:p>
            <a:r>
              <a:rPr lang="en-US" dirty="0"/>
              <a:t>Discussion of TG3 Report</a:t>
            </a:r>
          </a:p>
        </p:txBody>
      </p:sp>
    </p:spTree>
    <p:extLst>
      <p:ext uri="{BB962C8B-B14F-4D97-AF65-F5344CB8AC3E}">
        <p14:creationId xmlns:p14="http://schemas.microsoft.com/office/powerpoint/2010/main" val="369637227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772400" cy="1102519"/>
          </a:xfrm>
        </p:spPr>
        <p:txBody>
          <a:bodyPr/>
          <a:lstStyle/>
          <a:p>
            <a:r>
              <a:rPr lang="en-US" altLang="en-US" sz="2800" dirty="0"/>
              <a:t>Status Report of DACSC TG1 </a:t>
            </a:r>
            <a:br>
              <a:rPr lang="en-US" altLang="en-US" sz="2800" dirty="0"/>
            </a:br>
            <a:r>
              <a:rPr lang="en-US" altLang="en-US" sz="2800" dirty="0"/>
              <a:t>(Roles and Responsibilities)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486400" y="5181600"/>
            <a:ext cx="3505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Co-Chairs:</a:t>
            </a:r>
          </a:p>
          <a:p>
            <a:r>
              <a:rPr 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Dr. John Eagerton, </a:t>
            </a:r>
            <a:r>
              <a:rPr lang="en-US" sz="1600" i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DoT Alabama</a:t>
            </a:r>
          </a:p>
          <a:p>
            <a:r>
              <a:rPr lang="en-US" sz="16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Brendan Schulman, </a:t>
            </a:r>
            <a:r>
              <a:rPr lang="en-US" sz="1600" i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DJI</a:t>
            </a:r>
          </a:p>
        </p:txBody>
      </p:sp>
    </p:spTree>
    <p:extLst>
      <p:ext uri="{BB962C8B-B14F-4D97-AF65-F5344CB8AC3E}">
        <p14:creationId xmlns:p14="http://schemas.microsoft.com/office/powerpoint/2010/main" val="170409387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TCA 4-3 New Master">
  <a:themeElements>
    <a:clrScheme name="Globe 3">
      <a:dk1>
        <a:srgbClr val="003B76"/>
      </a:dk1>
      <a:lt1>
        <a:srgbClr val="FFFFFF"/>
      </a:lt1>
      <a:dk2>
        <a:srgbClr val="0066CC"/>
      </a:dk2>
      <a:lt2>
        <a:srgbClr val="CCECFF"/>
      </a:lt2>
      <a:accent1>
        <a:srgbClr val="33CCCC"/>
      </a:accent1>
      <a:accent2>
        <a:srgbClr val="66CCFF"/>
      </a:accent2>
      <a:accent3>
        <a:srgbClr val="AAB8E2"/>
      </a:accent3>
      <a:accent4>
        <a:srgbClr val="DADADA"/>
      </a:accent4>
      <a:accent5>
        <a:srgbClr val="ADE2E2"/>
      </a:accent5>
      <a:accent6>
        <a:srgbClr val="5CB9E7"/>
      </a:accent6>
      <a:hlink>
        <a:srgbClr val="FFFFCC"/>
      </a:hlink>
      <a:folHlink>
        <a:srgbClr val="FFCC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lobe 1">
        <a:dk1>
          <a:srgbClr val="622100"/>
        </a:dk1>
        <a:lt1>
          <a:srgbClr val="FFFFFF"/>
        </a:lt1>
        <a:dk2>
          <a:srgbClr val="800000"/>
        </a:dk2>
        <a:lt2>
          <a:srgbClr val="FFFFCC"/>
        </a:lt2>
        <a:accent1>
          <a:srgbClr val="E42B00"/>
        </a:accent1>
        <a:accent2>
          <a:srgbClr val="996600"/>
        </a:accent2>
        <a:accent3>
          <a:srgbClr val="C0AAAA"/>
        </a:accent3>
        <a:accent4>
          <a:srgbClr val="DADADA"/>
        </a:accent4>
        <a:accent5>
          <a:srgbClr val="EFACAA"/>
        </a:accent5>
        <a:accent6>
          <a:srgbClr val="8A5C00"/>
        </a:accent6>
        <a:hlink>
          <a:srgbClr val="FADF6C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2">
        <a:dk1>
          <a:srgbClr val="5F4545"/>
        </a:dk1>
        <a:lt1>
          <a:srgbClr val="FFFFFF"/>
        </a:lt1>
        <a:dk2>
          <a:srgbClr val="8F6969"/>
        </a:dk2>
        <a:lt2>
          <a:srgbClr val="FFFFCC"/>
        </a:lt2>
        <a:accent1>
          <a:srgbClr val="CC6600"/>
        </a:accent1>
        <a:accent2>
          <a:srgbClr val="924C0C"/>
        </a:accent2>
        <a:accent3>
          <a:srgbClr val="C6B9B9"/>
        </a:accent3>
        <a:accent4>
          <a:srgbClr val="DADADA"/>
        </a:accent4>
        <a:accent5>
          <a:srgbClr val="E2B8AA"/>
        </a:accent5>
        <a:accent6>
          <a:srgbClr val="84440A"/>
        </a:accent6>
        <a:hlink>
          <a:srgbClr val="CFD375"/>
        </a:hlink>
        <a:folHlink>
          <a:srgbClr val="98BB9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3">
        <a:dk1>
          <a:srgbClr val="003B76"/>
        </a:dk1>
        <a:lt1>
          <a:srgbClr val="FFFFFF"/>
        </a:lt1>
        <a:dk2>
          <a:srgbClr val="0066CC"/>
        </a:dk2>
        <a:lt2>
          <a:srgbClr val="CCECFF"/>
        </a:lt2>
        <a:accent1>
          <a:srgbClr val="33CCCC"/>
        </a:accent1>
        <a:accent2>
          <a:srgbClr val="66CCFF"/>
        </a:accent2>
        <a:accent3>
          <a:srgbClr val="AAB8E2"/>
        </a:accent3>
        <a:accent4>
          <a:srgbClr val="DADADA"/>
        </a:accent4>
        <a:accent5>
          <a:srgbClr val="ADE2E2"/>
        </a:accent5>
        <a:accent6>
          <a:srgbClr val="5CB9E7"/>
        </a:accent6>
        <a:hlink>
          <a:srgbClr val="FFFFCC"/>
        </a:hlink>
        <a:folHlink>
          <a:srgbClr val="FF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4">
        <a:dk1>
          <a:srgbClr val="005856"/>
        </a:dk1>
        <a:lt1>
          <a:srgbClr val="FFFFFF"/>
        </a:lt1>
        <a:dk2>
          <a:srgbClr val="008080"/>
        </a:dk2>
        <a:lt2>
          <a:srgbClr val="FFFFCC"/>
        </a:lt2>
        <a:accent1>
          <a:srgbClr val="0099CC"/>
        </a:accent1>
        <a:accent2>
          <a:srgbClr val="00CCFF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B9E7"/>
        </a:accent6>
        <a:hlink>
          <a:srgbClr val="1ACE9F"/>
        </a:hlink>
        <a:folHlink>
          <a:srgbClr val="948C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5">
        <a:dk1>
          <a:srgbClr val="3C5436"/>
        </a:dk1>
        <a:lt1>
          <a:srgbClr val="FFFFFF"/>
        </a:lt1>
        <a:dk2>
          <a:srgbClr val="5F8656"/>
        </a:dk2>
        <a:lt2>
          <a:srgbClr val="D6D8C0"/>
        </a:lt2>
        <a:accent1>
          <a:srgbClr val="61733D"/>
        </a:accent1>
        <a:accent2>
          <a:srgbClr val="324A39"/>
        </a:accent2>
        <a:accent3>
          <a:srgbClr val="B6C3B4"/>
        </a:accent3>
        <a:accent4>
          <a:srgbClr val="DADADA"/>
        </a:accent4>
        <a:accent5>
          <a:srgbClr val="B7BCAF"/>
        </a:accent5>
        <a:accent6>
          <a:srgbClr val="2C4233"/>
        </a:accent6>
        <a:hlink>
          <a:srgbClr val="73D588"/>
        </a:hlink>
        <a:folHlink>
          <a:srgbClr val="6F99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6">
        <a:dk1>
          <a:srgbClr val="5B7B65"/>
        </a:dk1>
        <a:lt1>
          <a:srgbClr val="FFFFFF"/>
        </a:lt1>
        <a:dk2>
          <a:srgbClr val="9ABE9D"/>
        </a:dk2>
        <a:lt2>
          <a:srgbClr val="336600"/>
        </a:lt2>
        <a:accent1>
          <a:srgbClr val="00CC66"/>
        </a:accent1>
        <a:accent2>
          <a:srgbClr val="4E7050"/>
        </a:accent2>
        <a:accent3>
          <a:srgbClr val="CADBCC"/>
        </a:accent3>
        <a:accent4>
          <a:srgbClr val="DADADA"/>
        </a:accent4>
        <a:accent5>
          <a:srgbClr val="AAE2B8"/>
        </a:accent5>
        <a:accent6>
          <a:srgbClr val="466548"/>
        </a:accent6>
        <a:hlink>
          <a:srgbClr val="FFFFCC"/>
        </a:hlink>
        <a:folHlink>
          <a:srgbClr val="9CE8A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4C4E44"/>
        </a:dk1>
        <a:lt1>
          <a:srgbClr val="FFFFFF"/>
        </a:lt1>
        <a:dk2>
          <a:srgbClr val="686B5D"/>
        </a:dk2>
        <a:lt2>
          <a:srgbClr val="D6D5C6"/>
        </a:lt2>
        <a:accent1>
          <a:srgbClr val="898D79"/>
        </a:accent1>
        <a:accent2>
          <a:srgbClr val="4D4F45"/>
        </a:accent2>
        <a:accent3>
          <a:srgbClr val="B9BAB6"/>
        </a:accent3>
        <a:accent4>
          <a:srgbClr val="DADADA"/>
        </a:accent4>
        <a:accent5>
          <a:srgbClr val="C4C5BE"/>
        </a:accent5>
        <a:accent6>
          <a:srgbClr val="45473E"/>
        </a:accent6>
        <a:hlink>
          <a:srgbClr val="58BE67"/>
        </a:hlink>
        <a:folHlink>
          <a:srgbClr val="C0C64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0000"/>
        </a:dk1>
        <a:lt1>
          <a:srgbClr val="FFFFDD"/>
        </a:lt1>
        <a:dk2>
          <a:srgbClr val="000000"/>
        </a:dk2>
        <a:lt2>
          <a:srgbClr val="98977A"/>
        </a:lt2>
        <a:accent1>
          <a:srgbClr val="BDCDA7"/>
        </a:accent1>
        <a:accent2>
          <a:srgbClr val="A0D060"/>
        </a:accent2>
        <a:accent3>
          <a:srgbClr val="FFFFEB"/>
        </a:accent3>
        <a:accent4>
          <a:srgbClr val="000000"/>
        </a:accent4>
        <a:accent5>
          <a:srgbClr val="DBE3D0"/>
        </a:accent5>
        <a:accent6>
          <a:srgbClr val="91BC56"/>
        </a:accent6>
        <a:hlink>
          <a:srgbClr val="FADD4E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New - US Airways">
  <a:themeElements>
    <a:clrScheme name="New - US Airways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New - US Airway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- US Airways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- US Airways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- US Airways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- US Airways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- US Airway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- US Airway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- US Airway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CCAT_2003ppt 2009_ PresentationV1">
  <a:themeElements>
    <a:clrScheme name="CCAT_2003ppt 2009_ PresentationV1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CCAT_2003ppt 2009_ PresentationV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CCAT_2003ppt 2009_ PresentationV1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CAT_2003ppt 2009_ PresentationV1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AT_2003ppt 2009_ PresentationV1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AT_2003ppt 2009_ PresentationV1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AT_2003ppt 2009_ PresentationV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AT_2003ppt 2009_ PresentationV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CAT_2003ppt 2009_ PresentationV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0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_BOT February 2009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4_WC3 Center Template 20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l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WC3 Center Template 2006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WC3 Center Template 2006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WC3 Center Template 2006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WC3 Center Template 2006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WC3 Center Template 2006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WC3 Center Template 2006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WC3 Center Template 2006 13">
        <a:dk1>
          <a:srgbClr val="000000"/>
        </a:dk1>
        <a:lt1>
          <a:srgbClr val="FFFFFF"/>
        </a:lt1>
        <a:dk2>
          <a:srgbClr val="003399"/>
        </a:dk2>
        <a:lt2>
          <a:srgbClr val="777D88"/>
        </a:lt2>
        <a:accent1>
          <a:srgbClr val="F4D598"/>
        </a:accent1>
        <a:accent2>
          <a:srgbClr val="991B00"/>
        </a:accent2>
        <a:accent3>
          <a:srgbClr val="FFFFFF"/>
        </a:accent3>
        <a:accent4>
          <a:srgbClr val="000000"/>
        </a:accent4>
        <a:accent5>
          <a:srgbClr val="F8E7CA"/>
        </a:accent5>
        <a:accent6>
          <a:srgbClr val="8A1700"/>
        </a:accent6>
        <a:hlink>
          <a:srgbClr val="567CC6"/>
        </a:hlink>
        <a:folHlink>
          <a:srgbClr val="D4DEF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25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6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2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12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3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_2 line title master">
  <a:themeElements>
    <a:clrScheme name="1_2 line title master 3">
      <a:dk1>
        <a:srgbClr val="000000"/>
      </a:dk1>
      <a:lt1>
        <a:srgbClr val="FFFFCC"/>
      </a:lt1>
      <a:dk2>
        <a:srgbClr val="808000"/>
      </a:dk2>
      <a:lt2>
        <a:srgbClr val="666633"/>
      </a:lt2>
      <a:accent1>
        <a:srgbClr val="339933"/>
      </a:accent1>
      <a:accent2>
        <a:srgbClr val="800000"/>
      </a:accent2>
      <a:accent3>
        <a:srgbClr val="FFFFE2"/>
      </a:accent3>
      <a:accent4>
        <a:srgbClr val="000000"/>
      </a:accent4>
      <a:accent5>
        <a:srgbClr val="ADCAAD"/>
      </a:accent5>
      <a:accent6>
        <a:srgbClr val="730000"/>
      </a:accent6>
      <a:hlink>
        <a:srgbClr val="0033CC"/>
      </a:hlink>
      <a:folHlink>
        <a:srgbClr val="FFCC66"/>
      </a:folHlink>
    </a:clrScheme>
    <a:fontScheme name="1_2 line title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2 line title 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 line title mast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2 line title mast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 line title mast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 line title mast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 line title mast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 line title mast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2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3_FAA NextGen - 201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15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17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18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_RTCA PPT Theme">
  <a:themeElements>
    <a:clrScheme name="Globe 3">
      <a:dk1>
        <a:srgbClr val="003B76"/>
      </a:dk1>
      <a:lt1>
        <a:srgbClr val="FFFFFF"/>
      </a:lt1>
      <a:dk2>
        <a:srgbClr val="0066CC"/>
      </a:dk2>
      <a:lt2>
        <a:srgbClr val="CCECFF"/>
      </a:lt2>
      <a:accent1>
        <a:srgbClr val="33CCCC"/>
      </a:accent1>
      <a:accent2>
        <a:srgbClr val="66CCFF"/>
      </a:accent2>
      <a:accent3>
        <a:srgbClr val="AAB8E2"/>
      </a:accent3>
      <a:accent4>
        <a:srgbClr val="DADADA"/>
      </a:accent4>
      <a:accent5>
        <a:srgbClr val="ADE2E2"/>
      </a:accent5>
      <a:accent6>
        <a:srgbClr val="5CB9E7"/>
      </a:accent6>
      <a:hlink>
        <a:srgbClr val="FFFFCC"/>
      </a:hlink>
      <a:folHlink>
        <a:srgbClr val="FFCC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lobe 1">
        <a:dk1>
          <a:srgbClr val="622100"/>
        </a:dk1>
        <a:lt1>
          <a:srgbClr val="FFFFFF"/>
        </a:lt1>
        <a:dk2>
          <a:srgbClr val="800000"/>
        </a:dk2>
        <a:lt2>
          <a:srgbClr val="FFFFCC"/>
        </a:lt2>
        <a:accent1>
          <a:srgbClr val="E42B00"/>
        </a:accent1>
        <a:accent2>
          <a:srgbClr val="996600"/>
        </a:accent2>
        <a:accent3>
          <a:srgbClr val="C0AAAA"/>
        </a:accent3>
        <a:accent4>
          <a:srgbClr val="DADADA"/>
        </a:accent4>
        <a:accent5>
          <a:srgbClr val="EFACAA"/>
        </a:accent5>
        <a:accent6>
          <a:srgbClr val="8A5C00"/>
        </a:accent6>
        <a:hlink>
          <a:srgbClr val="FADF6C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2">
        <a:dk1>
          <a:srgbClr val="5F4545"/>
        </a:dk1>
        <a:lt1>
          <a:srgbClr val="FFFFFF"/>
        </a:lt1>
        <a:dk2>
          <a:srgbClr val="8F6969"/>
        </a:dk2>
        <a:lt2>
          <a:srgbClr val="FFFFCC"/>
        </a:lt2>
        <a:accent1>
          <a:srgbClr val="CC6600"/>
        </a:accent1>
        <a:accent2>
          <a:srgbClr val="924C0C"/>
        </a:accent2>
        <a:accent3>
          <a:srgbClr val="C6B9B9"/>
        </a:accent3>
        <a:accent4>
          <a:srgbClr val="DADADA"/>
        </a:accent4>
        <a:accent5>
          <a:srgbClr val="E2B8AA"/>
        </a:accent5>
        <a:accent6>
          <a:srgbClr val="84440A"/>
        </a:accent6>
        <a:hlink>
          <a:srgbClr val="CFD375"/>
        </a:hlink>
        <a:folHlink>
          <a:srgbClr val="98BB9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3">
        <a:dk1>
          <a:srgbClr val="003B76"/>
        </a:dk1>
        <a:lt1>
          <a:srgbClr val="FFFFFF"/>
        </a:lt1>
        <a:dk2>
          <a:srgbClr val="0066CC"/>
        </a:dk2>
        <a:lt2>
          <a:srgbClr val="CCECFF"/>
        </a:lt2>
        <a:accent1>
          <a:srgbClr val="33CCCC"/>
        </a:accent1>
        <a:accent2>
          <a:srgbClr val="66CCFF"/>
        </a:accent2>
        <a:accent3>
          <a:srgbClr val="AAB8E2"/>
        </a:accent3>
        <a:accent4>
          <a:srgbClr val="DADADA"/>
        </a:accent4>
        <a:accent5>
          <a:srgbClr val="ADE2E2"/>
        </a:accent5>
        <a:accent6>
          <a:srgbClr val="5CB9E7"/>
        </a:accent6>
        <a:hlink>
          <a:srgbClr val="FFFFCC"/>
        </a:hlink>
        <a:folHlink>
          <a:srgbClr val="FF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4">
        <a:dk1>
          <a:srgbClr val="005856"/>
        </a:dk1>
        <a:lt1>
          <a:srgbClr val="FFFFFF"/>
        </a:lt1>
        <a:dk2>
          <a:srgbClr val="008080"/>
        </a:dk2>
        <a:lt2>
          <a:srgbClr val="FFFFCC"/>
        </a:lt2>
        <a:accent1>
          <a:srgbClr val="0099CC"/>
        </a:accent1>
        <a:accent2>
          <a:srgbClr val="00CCFF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B9E7"/>
        </a:accent6>
        <a:hlink>
          <a:srgbClr val="1ACE9F"/>
        </a:hlink>
        <a:folHlink>
          <a:srgbClr val="948C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5">
        <a:dk1>
          <a:srgbClr val="3C5436"/>
        </a:dk1>
        <a:lt1>
          <a:srgbClr val="FFFFFF"/>
        </a:lt1>
        <a:dk2>
          <a:srgbClr val="5F8656"/>
        </a:dk2>
        <a:lt2>
          <a:srgbClr val="D6D8C0"/>
        </a:lt2>
        <a:accent1>
          <a:srgbClr val="61733D"/>
        </a:accent1>
        <a:accent2>
          <a:srgbClr val="324A39"/>
        </a:accent2>
        <a:accent3>
          <a:srgbClr val="B6C3B4"/>
        </a:accent3>
        <a:accent4>
          <a:srgbClr val="DADADA"/>
        </a:accent4>
        <a:accent5>
          <a:srgbClr val="B7BCAF"/>
        </a:accent5>
        <a:accent6>
          <a:srgbClr val="2C4233"/>
        </a:accent6>
        <a:hlink>
          <a:srgbClr val="73D588"/>
        </a:hlink>
        <a:folHlink>
          <a:srgbClr val="6F99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6">
        <a:dk1>
          <a:srgbClr val="5B7B65"/>
        </a:dk1>
        <a:lt1>
          <a:srgbClr val="FFFFFF"/>
        </a:lt1>
        <a:dk2>
          <a:srgbClr val="9ABE9D"/>
        </a:dk2>
        <a:lt2>
          <a:srgbClr val="336600"/>
        </a:lt2>
        <a:accent1>
          <a:srgbClr val="00CC66"/>
        </a:accent1>
        <a:accent2>
          <a:srgbClr val="4E7050"/>
        </a:accent2>
        <a:accent3>
          <a:srgbClr val="CADBCC"/>
        </a:accent3>
        <a:accent4>
          <a:srgbClr val="DADADA"/>
        </a:accent4>
        <a:accent5>
          <a:srgbClr val="AAE2B8"/>
        </a:accent5>
        <a:accent6>
          <a:srgbClr val="466548"/>
        </a:accent6>
        <a:hlink>
          <a:srgbClr val="FFFFCC"/>
        </a:hlink>
        <a:folHlink>
          <a:srgbClr val="9CE8A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4C4E44"/>
        </a:dk1>
        <a:lt1>
          <a:srgbClr val="FFFFFF"/>
        </a:lt1>
        <a:dk2>
          <a:srgbClr val="686B5D"/>
        </a:dk2>
        <a:lt2>
          <a:srgbClr val="D6D5C6"/>
        </a:lt2>
        <a:accent1>
          <a:srgbClr val="898D79"/>
        </a:accent1>
        <a:accent2>
          <a:srgbClr val="4D4F45"/>
        </a:accent2>
        <a:accent3>
          <a:srgbClr val="B9BAB6"/>
        </a:accent3>
        <a:accent4>
          <a:srgbClr val="DADADA"/>
        </a:accent4>
        <a:accent5>
          <a:srgbClr val="C4C5BE"/>
        </a:accent5>
        <a:accent6>
          <a:srgbClr val="45473E"/>
        </a:accent6>
        <a:hlink>
          <a:srgbClr val="58BE67"/>
        </a:hlink>
        <a:folHlink>
          <a:srgbClr val="C0C64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0000"/>
        </a:dk1>
        <a:lt1>
          <a:srgbClr val="FFFFDD"/>
        </a:lt1>
        <a:dk2>
          <a:srgbClr val="000000"/>
        </a:dk2>
        <a:lt2>
          <a:srgbClr val="98977A"/>
        </a:lt2>
        <a:accent1>
          <a:srgbClr val="BDCDA7"/>
        </a:accent1>
        <a:accent2>
          <a:srgbClr val="A0D060"/>
        </a:accent2>
        <a:accent3>
          <a:srgbClr val="FFFFEB"/>
        </a:accent3>
        <a:accent4>
          <a:srgbClr val="000000"/>
        </a:accent4>
        <a:accent5>
          <a:srgbClr val="DBE3D0"/>
        </a:accent5>
        <a:accent6>
          <a:srgbClr val="91BC56"/>
        </a:accent6>
        <a:hlink>
          <a:srgbClr val="FADD4E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3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2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5_FAA NextGen - 201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41_Office Theme">
  <a:themeElements>
    <a:clrScheme name="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Office Them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ustom 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FFFFFF"/>
      </a:hlink>
      <a:folHlink>
        <a:srgbClr val="FFFFFF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14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16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19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9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Office Theme">
  <a:themeElements>
    <a:clrScheme name="Heart #1">
      <a:dk1>
        <a:srgbClr val="000000"/>
      </a:dk1>
      <a:lt1>
        <a:sysClr val="window" lastClr="FFFFFF"/>
      </a:lt1>
      <a:dk2>
        <a:srgbClr val="111B40"/>
      </a:dk2>
      <a:lt2>
        <a:srgbClr val="FFFFFF"/>
      </a:lt2>
      <a:accent1>
        <a:srgbClr val="304CB2"/>
      </a:accent1>
      <a:accent2>
        <a:srgbClr val="D5152E"/>
      </a:accent2>
      <a:accent3>
        <a:srgbClr val="606060"/>
      </a:accent3>
      <a:accent4>
        <a:srgbClr val="5E7E94"/>
      </a:accent4>
      <a:accent5>
        <a:srgbClr val="FFBF27"/>
      </a:accent5>
      <a:accent6>
        <a:srgbClr val="E5E3E3"/>
      </a:accent6>
      <a:hlink>
        <a:srgbClr val="606060"/>
      </a:hlink>
      <a:folHlink>
        <a:srgbClr val="5E7E9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44.xml><?xml version="1.0" encoding="utf-8"?>
<a:theme xmlns:a="http://schemas.openxmlformats.org/drawingml/2006/main" name="3_Theme1">
  <a:themeElements>
    <a:clrScheme name="">
      <a:dk1>
        <a:srgbClr val="4D4F53"/>
      </a:dk1>
      <a:lt1>
        <a:srgbClr val="FFFFFF"/>
      </a:lt1>
      <a:dk2>
        <a:srgbClr val="003399"/>
      </a:dk2>
      <a:lt2>
        <a:srgbClr val="808080"/>
      </a:lt2>
      <a:accent1>
        <a:srgbClr val="D4D4D0"/>
      </a:accent1>
      <a:accent2>
        <a:srgbClr val="EDB72B"/>
      </a:accent2>
      <a:accent3>
        <a:srgbClr val="FFFFFF"/>
      </a:accent3>
      <a:accent4>
        <a:srgbClr val="404246"/>
      </a:accent4>
      <a:accent5>
        <a:srgbClr val="E6E6E4"/>
      </a:accent5>
      <a:accent6>
        <a:srgbClr val="D7A626"/>
      </a:accent6>
      <a:hlink>
        <a:srgbClr val="7C848A"/>
      </a:hlink>
      <a:folHlink>
        <a:srgbClr val="647D8F"/>
      </a:folHlink>
    </a:clrScheme>
    <a:fontScheme name="United_PowerPoint_200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lnDef>
  </a:objectDefaults>
  <a:extraClrSchemeLst>
    <a:extraClrScheme>
      <a:clrScheme name="United_PowerPoint_20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5_Theme1">
  <a:themeElements>
    <a:clrScheme name="">
      <a:dk1>
        <a:srgbClr val="4D4F53"/>
      </a:dk1>
      <a:lt1>
        <a:srgbClr val="FFFFFF"/>
      </a:lt1>
      <a:dk2>
        <a:srgbClr val="003399"/>
      </a:dk2>
      <a:lt2>
        <a:srgbClr val="808080"/>
      </a:lt2>
      <a:accent1>
        <a:srgbClr val="D4D4D0"/>
      </a:accent1>
      <a:accent2>
        <a:srgbClr val="EDB72B"/>
      </a:accent2>
      <a:accent3>
        <a:srgbClr val="FFFFFF"/>
      </a:accent3>
      <a:accent4>
        <a:srgbClr val="404246"/>
      </a:accent4>
      <a:accent5>
        <a:srgbClr val="E6E6E4"/>
      </a:accent5>
      <a:accent6>
        <a:srgbClr val="D7A626"/>
      </a:accent6>
      <a:hlink>
        <a:srgbClr val="7C848A"/>
      </a:hlink>
      <a:folHlink>
        <a:srgbClr val="647D8F"/>
      </a:folHlink>
    </a:clrScheme>
    <a:fontScheme name="United_PowerPoint_200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lnDef>
  </a:objectDefaults>
  <a:extraClrSchemeLst>
    <a:extraClrScheme>
      <a:clrScheme name="United_PowerPoint_20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1_Office Theme">
  <a:themeElements>
    <a:clrScheme name="Heart #1">
      <a:dk1>
        <a:srgbClr val="000000"/>
      </a:dk1>
      <a:lt1>
        <a:sysClr val="window" lastClr="FFFFFF"/>
      </a:lt1>
      <a:dk2>
        <a:srgbClr val="111B40"/>
      </a:dk2>
      <a:lt2>
        <a:srgbClr val="FFFFFF"/>
      </a:lt2>
      <a:accent1>
        <a:srgbClr val="304CB2"/>
      </a:accent1>
      <a:accent2>
        <a:srgbClr val="D5152E"/>
      </a:accent2>
      <a:accent3>
        <a:srgbClr val="606060"/>
      </a:accent3>
      <a:accent4>
        <a:srgbClr val="5E7E94"/>
      </a:accent4>
      <a:accent5>
        <a:srgbClr val="FFBF27"/>
      </a:accent5>
      <a:accent6>
        <a:srgbClr val="E5E3E3"/>
      </a:accent6>
      <a:hlink>
        <a:srgbClr val="606060"/>
      </a:hlink>
      <a:folHlink>
        <a:srgbClr val="5E7E9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47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8.xml><?xml version="1.0" encoding="utf-8"?>
<a:theme xmlns:a="http://schemas.openxmlformats.org/drawingml/2006/main" name="5_RTCA PPT Theme">
  <a:themeElements>
    <a:clrScheme name="Globe 3">
      <a:dk1>
        <a:srgbClr val="003B76"/>
      </a:dk1>
      <a:lt1>
        <a:srgbClr val="FFFFFF"/>
      </a:lt1>
      <a:dk2>
        <a:srgbClr val="0066CC"/>
      </a:dk2>
      <a:lt2>
        <a:srgbClr val="CCECFF"/>
      </a:lt2>
      <a:accent1>
        <a:srgbClr val="33CCCC"/>
      </a:accent1>
      <a:accent2>
        <a:srgbClr val="66CCFF"/>
      </a:accent2>
      <a:accent3>
        <a:srgbClr val="AAB8E2"/>
      </a:accent3>
      <a:accent4>
        <a:srgbClr val="DADADA"/>
      </a:accent4>
      <a:accent5>
        <a:srgbClr val="ADE2E2"/>
      </a:accent5>
      <a:accent6>
        <a:srgbClr val="5CB9E7"/>
      </a:accent6>
      <a:hlink>
        <a:srgbClr val="FFFFCC"/>
      </a:hlink>
      <a:folHlink>
        <a:srgbClr val="FFCC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lobe 1">
        <a:dk1>
          <a:srgbClr val="622100"/>
        </a:dk1>
        <a:lt1>
          <a:srgbClr val="FFFFFF"/>
        </a:lt1>
        <a:dk2>
          <a:srgbClr val="800000"/>
        </a:dk2>
        <a:lt2>
          <a:srgbClr val="FFFFCC"/>
        </a:lt2>
        <a:accent1>
          <a:srgbClr val="E42B00"/>
        </a:accent1>
        <a:accent2>
          <a:srgbClr val="996600"/>
        </a:accent2>
        <a:accent3>
          <a:srgbClr val="C0AAAA"/>
        </a:accent3>
        <a:accent4>
          <a:srgbClr val="DADADA"/>
        </a:accent4>
        <a:accent5>
          <a:srgbClr val="EFACAA"/>
        </a:accent5>
        <a:accent6>
          <a:srgbClr val="8A5C00"/>
        </a:accent6>
        <a:hlink>
          <a:srgbClr val="FADF6C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2">
        <a:dk1>
          <a:srgbClr val="5F4545"/>
        </a:dk1>
        <a:lt1>
          <a:srgbClr val="FFFFFF"/>
        </a:lt1>
        <a:dk2>
          <a:srgbClr val="8F6969"/>
        </a:dk2>
        <a:lt2>
          <a:srgbClr val="FFFFCC"/>
        </a:lt2>
        <a:accent1>
          <a:srgbClr val="CC6600"/>
        </a:accent1>
        <a:accent2>
          <a:srgbClr val="924C0C"/>
        </a:accent2>
        <a:accent3>
          <a:srgbClr val="C6B9B9"/>
        </a:accent3>
        <a:accent4>
          <a:srgbClr val="DADADA"/>
        </a:accent4>
        <a:accent5>
          <a:srgbClr val="E2B8AA"/>
        </a:accent5>
        <a:accent6>
          <a:srgbClr val="84440A"/>
        </a:accent6>
        <a:hlink>
          <a:srgbClr val="CFD375"/>
        </a:hlink>
        <a:folHlink>
          <a:srgbClr val="98BB9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3">
        <a:dk1>
          <a:srgbClr val="003B76"/>
        </a:dk1>
        <a:lt1>
          <a:srgbClr val="FFFFFF"/>
        </a:lt1>
        <a:dk2>
          <a:srgbClr val="0066CC"/>
        </a:dk2>
        <a:lt2>
          <a:srgbClr val="CCECFF"/>
        </a:lt2>
        <a:accent1>
          <a:srgbClr val="33CCCC"/>
        </a:accent1>
        <a:accent2>
          <a:srgbClr val="66CCFF"/>
        </a:accent2>
        <a:accent3>
          <a:srgbClr val="AAB8E2"/>
        </a:accent3>
        <a:accent4>
          <a:srgbClr val="DADADA"/>
        </a:accent4>
        <a:accent5>
          <a:srgbClr val="ADE2E2"/>
        </a:accent5>
        <a:accent6>
          <a:srgbClr val="5CB9E7"/>
        </a:accent6>
        <a:hlink>
          <a:srgbClr val="FFFFCC"/>
        </a:hlink>
        <a:folHlink>
          <a:srgbClr val="FF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4">
        <a:dk1>
          <a:srgbClr val="005856"/>
        </a:dk1>
        <a:lt1>
          <a:srgbClr val="FFFFFF"/>
        </a:lt1>
        <a:dk2>
          <a:srgbClr val="008080"/>
        </a:dk2>
        <a:lt2>
          <a:srgbClr val="FFFFCC"/>
        </a:lt2>
        <a:accent1>
          <a:srgbClr val="0099CC"/>
        </a:accent1>
        <a:accent2>
          <a:srgbClr val="00CCFF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B9E7"/>
        </a:accent6>
        <a:hlink>
          <a:srgbClr val="1ACE9F"/>
        </a:hlink>
        <a:folHlink>
          <a:srgbClr val="948C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5">
        <a:dk1>
          <a:srgbClr val="3C5436"/>
        </a:dk1>
        <a:lt1>
          <a:srgbClr val="FFFFFF"/>
        </a:lt1>
        <a:dk2>
          <a:srgbClr val="5F8656"/>
        </a:dk2>
        <a:lt2>
          <a:srgbClr val="D6D8C0"/>
        </a:lt2>
        <a:accent1>
          <a:srgbClr val="61733D"/>
        </a:accent1>
        <a:accent2>
          <a:srgbClr val="324A39"/>
        </a:accent2>
        <a:accent3>
          <a:srgbClr val="B6C3B4"/>
        </a:accent3>
        <a:accent4>
          <a:srgbClr val="DADADA"/>
        </a:accent4>
        <a:accent5>
          <a:srgbClr val="B7BCAF"/>
        </a:accent5>
        <a:accent6>
          <a:srgbClr val="2C4233"/>
        </a:accent6>
        <a:hlink>
          <a:srgbClr val="73D588"/>
        </a:hlink>
        <a:folHlink>
          <a:srgbClr val="6F99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6">
        <a:dk1>
          <a:srgbClr val="5B7B65"/>
        </a:dk1>
        <a:lt1>
          <a:srgbClr val="FFFFFF"/>
        </a:lt1>
        <a:dk2>
          <a:srgbClr val="9ABE9D"/>
        </a:dk2>
        <a:lt2>
          <a:srgbClr val="336600"/>
        </a:lt2>
        <a:accent1>
          <a:srgbClr val="00CC66"/>
        </a:accent1>
        <a:accent2>
          <a:srgbClr val="4E7050"/>
        </a:accent2>
        <a:accent3>
          <a:srgbClr val="CADBCC"/>
        </a:accent3>
        <a:accent4>
          <a:srgbClr val="DADADA"/>
        </a:accent4>
        <a:accent5>
          <a:srgbClr val="AAE2B8"/>
        </a:accent5>
        <a:accent6>
          <a:srgbClr val="466548"/>
        </a:accent6>
        <a:hlink>
          <a:srgbClr val="FFFFCC"/>
        </a:hlink>
        <a:folHlink>
          <a:srgbClr val="9CE8A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4C4E44"/>
        </a:dk1>
        <a:lt1>
          <a:srgbClr val="FFFFFF"/>
        </a:lt1>
        <a:dk2>
          <a:srgbClr val="686B5D"/>
        </a:dk2>
        <a:lt2>
          <a:srgbClr val="D6D5C6"/>
        </a:lt2>
        <a:accent1>
          <a:srgbClr val="898D79"/>
        </a:accent1>
        <a:accent2>
          <a:srgbClr val="4D4F45"/>
        </a:accent2>
        <a:accent3>
          <a:srgbClr val="B9BAB6"/>
        </a:accent3>
        <a:accent4>
          <a:srgbClr val="DADADA"/>
        </a:accent4>
        <a:accent5>
          <a:srgbClr val="C4C5BE"/>
        </a:accent5>
        <a:accent6>
          <a:srgbClr val="45473E"/>
        </a:accent6>
        <a:hlink>
          <a:srgbClr val="58BE67"/>
        </a:hlink>
        <a:folHlink>
          <a:srgbClr val="C0C64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0000"/>
        </a:dk1>
        <a:lt1>
          <a:srgbClr val="FFFFDD"/>
        </a:lt1>
        <a:dk2>
          <a:srgbClr val="000000"/>
        </a:dk2>
        <a:lt2>
          <a:srgbClr val="98977A"/>
        </a:lt2>
        <a:accent1>
          <a:srgbClr val="BDCDA7"/>
        </a:accent1>
        <a:accent2>
          <a:srgbClr val="A0D060"/>
        </a:accent2>
        <a:accent3>
          <a:srgbClr val="FFFFEB"/>
        </a:accent3>
        <a:accent4>
          <a:srgbClr val="000000"/>
        </a:accent4>
        <a:accent5>
          <a:srgbClr val="DBE3D0"/>
        </a:accent5>
        <a:accent6>
          <a:srgbClr val="91BC56"/>
        </a:accent6>
        <a:hlink>
          <a:srgbClr val="FADD4E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6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79_United_CF_ULA086">
  <a:themeElements>
    <a:clrScheme name="Current">
      <a:dk1>
        <a:srgbClr val="4D4F53"/>
      </a:dk1>
      <a:lt1>
        <a:srgbClr val="FFFFFF"/>
      </a:lt1>
      <a:dk2>
        <a:srgbClr val="003399"/>
      </a:dk2>
      <a:lt2>
        <a:srgbClr val="647D8F"/>
      </a:lt2>
      <a:accent1>
        <a:srgbClr val="D4D4D0"/>
      </a:accent1>
      <a:accent2>
        <a:srgbClr val="EDB72B"/>
      </a:accent2>
      <a:accent3>
        <a:srgbClr val="9CB0D7"/>
      </a:accent3>
      <a:accent4>
        <a:srgbClr val="003399"/>
      </a:accent4>
      <a:accent5>
        <a:srgbClr val="FF6600"/>
      </a:accent5>
      <a:accent6>
        <a:srgbClr val="808080"/>
      </a:accent6>
      <a:hlink>
        <a:srgbClr val="9CB0D7"/>
      </a:hlink>
      <a:folHlink>
        <a:srgbClr val="00339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4D4F53"/>
        </a:dk1>
        <a:lt1>
          <a:srgbClr val="FFFFFF"/>
        </a:lt1>
        <a:dk2>
          <a:srgbClr val="003399"/>
        </a:dk2>
        <a:lt2>
          <a:srgbClr val="647D8F"/>
        </a:lt2>
        <a:accent1>
          <a:srgbClr val="D4D4D0"/>
        </a:accent1>
        <a:accent2>
          <a:srgbClr val="EDB72B"/>
        </a:accent2>
        <a:accent3>
          <a:srgbClr val="9CB0D7"/>
        </a:accent3>
        <a:accent4>
          <a:srgbClr val="003399"/>
        </a:accent4>
        <a:accent5>
          <a:srgbClr val="FF6600"/>
        </a:accent5>
        <a:accent6>
          <a:srgbClr val="808080"/>
        </a:accent6>
        <a:hlink>
          <a:srgbClr val="9CB0D7"/>
        </a:hlink>
        <a:folHlink>
          <a:srgbClr val="00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28_Custom Design">
  <a:themeElements>
    <a:clrScheme name="1_Custom Design 1">
      <a:dk1>
        <a:srgbClr val="000000"/>
      </a:dk1>
      <a:lt1>
        <a:srgbClr val="FFFFFF"/>
      </a:lt1>
      <a:dk2>
        <a:srgbClr val="003399"/>
      </a:dk2>
      <a:lt2>
        <a:srgbClr val="B0B5B9"/>
      </a:lt2>
      <a:accent1>
        <a:srgbClr val="335CAD"/>
      </a:accent1>
      <a:accent2>
        <a:srgbClr val="EDB72B"/>
      </a:accent2>
      <a:accent3>
        <a:srgbClr val="FFFFFF"/>
      </a:accent3>
      <a:accent4>
        <a:srgbClr val="000000"/>
      </a:accent4>
      <a:accent5>
        <a:srgbClr val="ADB5D3"/>
      </a:accent5>
      <a:accent6>
        <a:srgbClr val="D7A626"/>
      </a:accent6>
      <a:hlink>
        <a:srgbClr val="647D8F"/>
      </a:hlink>
      <a:folHlink>
        <a:srgbClr val="62A9E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3399"/>
        </a:dk2>
        <a:lt2>
          <a:srgbClr val="B0B5B9"/>
        </a:lt2>
        <a:accent1>
          <a:srgbClr val="335CAD"/>
        </a:accent1>
        <a:accent2>
          <a:srgbClr val="EDB72B"/>
        </a:accent2>
        <a:accent3>
          <a:srgbClr val="FFFFFF"/>
        </a:accent3>
        <a:accent4>
          <a:srgbClr val="000000"/>
        </a:accent4>
        <a:accent5>
          <a:srgbClr val="ADB5D3"/>
        </a:accent5>
        <a:accent6>
          <a:srgbClr val="D7A626"/>
        </a:accent6>
        <a:hlink>
          <a:srgbClr val="647D8F"/>
        </a:hlink>
        <a:folHlink>
          <a:srgbClr val="62A9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2.xml><?xml version="1.0" encoding="utf-8"?>
<a:theme xmlns:a="http://schemas.openxmlformats.org/drawingml/2006/main" name="29_Custom Design">
  <a:themeElements>
    <a:clrScheme name="1_Custom Design 1">
      <a:dk1>
        <a:srgbClr val="000000"/>
      </a:dk1>
      <a:lt1>
        <a:srgbClr val="FFFFFF"/>
      </a:lt1>
      <a:dk2>
        <a:srgbClr val="003399"/>
      </a:dk2>
      <a:lt2>
        <a:srgbClr val="B0B5B9"/>
      </a:lt2>
      <a:accent1>
        <a:srgbClr val="335CAD"/>
      </a:accent1>
      <a:accent2>
        <a:srgbClr val="EDB72B"/>
      </a:accent2>
      <a:accent3>
        <a:srgbClr val="FFFFFF"/>
      </a:accent3>
      <a:accent4>
        <a:srgbClr val="000000"/>
      </a:accent4>
      <a:accent5>
        <a:srgbClr val="ADB5D3"/>
      </a:accent5>
      <a:accent6>
        <a:srgbClr val="D7A626"/>
      </a:accent6>
      <a:hlink>
        <a:srgbClr val="647D8F"/>
      </a:hlink>
      <a:folHlink>
        <a:srgbClr val="62A9E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3399"/>
        </a:dk2>
        <a:lt2>
          <a:srgbClr val="B0B5B9"/>
        </a:lt2>
        <a:accent1>
          <a:srgbClr val="335CAD"/>
        </a:accent1>
        <a:accent2>
          <a:srgbClr val="EDB72B"/>
        </a:accent2>
        <a:accent3>
          <a:srgbClr val="FFFFFF"/>
        </a:accent3>
        <a:accent4>
          <a:srgbClr val="000000"/>
        </a:accent4>
        <a:accent5>
          <a:srgbClr val="ADB5D3"/>
        </a:accent5>
        <a:accent6>
          <a:srgbClr val="D7A626"/>
        </a:accent6>
        <a:hlink>
          <a:srgbClr val="647D8F"/>
        </a:hlink>
        <a:folHlink>
          <a:srgbClr val="62A9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RTCA Theme">
  <a:themeElements>
    <a:clrScheme name="Globe 3">
      <a:dk1>
        <a:srgbClr val="003B76"/>
      </a:dk1>
      <a:lt1>
        <a:srgbClr val="FFFFFF"/>
      </a:lt1>
      <a:dk2>
        <a:srgbClr val="0066CC"/>
      </a:dk2>
      <a:lt2>
        <a:srgbClr val="CCECFF"/>
      </a:lt2>
      <a:accent1>
        <a:srgbClr val="33CCCC"/>
      </a:accent1>
      <a:accent2>
        <a:srgbClr val="66CCFF"/>
      </a:accent2>
      <a:accent3>
        <a:srgbClr val="AAB8E2"/>
      </a:accent3>
      <a:accent4>
        <a:srgbClr val="DADADA"/>
      </a:accent4>
      <a:accent5>
        <a:srgbClr val="ADE2E2"/>
      </a:accent5>
      <a:accent6>
        <a:srgbClr val="5CB9E7"/>
      </a:accent6>
      <a:hlink>
        <a:srgbClr val="FFFFCC"/>
      </a:hlink>
      <a:folHlink>
        <a:srgbClr val="FFCC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lobe 1">
        <a:dk1>
          <a:srgbClr val="622100"/>
        </a:dk1>
        <a:lt1>
          <a:srgbClr val="FFFFFF"/>
        </a:lt1>
        <a:dk2>
          <a:srgbClr val="800000"/>
        </a:dk2>
        <a:lt2>
          <a:srgbClr val="FFFFCC"/>
        </a:lt2>
        <a:accent1>
          <a:srgbClr val="E42B00"/>
        </a:accent1>
        <a:accent2>
          <a:srgbClr val="996600"/>
        </a:accent2>
        <a:accent3>
          <a:srgbClr val="C0AAAA"/>
        </a:accent3>
        <a:accent4>
          <a:srgbClr val="DADADA"/>
        </a:accent4>
        <a:accent5>
          <a:srgbClr val="EFACAA"/>
        </a:accent5>
        <a:accent6>
          <a:srgbClr val="8A5C00"/>
        </a:accent6>
        <a:hlink>
          <a:srgbClr val="FADF6C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2">
        <a:dk1>
          <a:srgbClr val="5F4545"/>
        </a:dk1>
        <a:lt1>
          <a:srgbClr val="FFFFFF"/>
        </a:lt1>
        <a:dk2>
          <a:srgbClr val="8F6969"/>
        </a:dk2>
        <a:lt2>
          <a:srgbClr val="FFFFCC"/>
        </a:lt2>
        <a:accent1>
          <a:srgbClr val="CC6600"/>
        </a:accent1>
        <a:accent2>
          <a:srgbClr val="924C0C"/>
        </a:accent2>
        <a:accent3>
          <a:srgbClr val="C6B9B9"/>
        </a:accent3>
        <a:accent4>
          <a:srgbClr val="DADADA"/>
        </a:accent4>
        <a:accent5>
          <a:srgbClr val="E2B8AA"/>
        </a:accent5>
        <a:accent6>
          <a:srgbClr val="84440A"/>
        </a:accent6>
        <a:hlink>
          <a:srgbClr val="CFD375"/>
        </a:hlink>
        <a:folHlink>
          <a:srgbClr val="98BB9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3">
        <a:dk1>
          <a:srgbClr val="003B76"/>
        </a:dk1>
        <a:lt1>
          <a:srgbClr val="FFFFFF"/>
        </a:lt1>
        <a:dk2>
          <a:srgbClr val="0066CC"/>
        </a:dk2>
        <a:lt2>
          <a:srgbClr val="CCECFF"/>
        </a:lt2>
        <a:accent1>
          <a:srgbClr val="33CCCC"/>
        </a:accent1>
        <a:accent2>
          <a:srgbClr val="66CCFF"/>
        </a:accent2>
        <a:accent3>
          <a:srgbClr val="AAB8E2"/>
        </a:accent3>
        <a:accent4>
          <a:srgbClr val="DADADA"/>
        </a:accent4>
        <a:accent5>
          <a:srgbClr val="ADE2E2"/>
        </a:accent5>
        <a:accent6>
          <a:srgbClr val="5CB9E7"/>
        </a:accent6>
        <a:hlink>
          <a:srgbClr val="FFFFCC"/>
        </a:hlink>
        <a:folHlink>
          <a:srgbClr val="FF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4">
        <a:dk1>
          <a:srgbClr val="005856"/>
        </a:dk1>
        <a:lt1>
          <a:srgbClr val="FFFFFF"/>
        </a:lt1>
        <a:dk2>
          <a:srgbClr val="008080"/>
        </a:dk2>
        <a:lt2>
          <a:srgbClr val="FFFFCC"/>
        </a:lt2>
        <a:accent1>
          <a:srgbClr val="0099CC"/>
        </a:accent1>
        <a:accent2>
          <a:srgbClr val="00CCFF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B9E7"/>
        </a:accent6>
        <a:hlink>
          <a:srgbClr val="1ACE9F"/>
        </a:hlink>
        <a:folHlink>
          <a:srgbClr val="948C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5">
        <a:dk1>
          <a:srgbClr val="3C5436"/>
        </a:dk1>
        <a:lt1>
          <a:srgbClr val="FFFFFF"/>
        </a:lt1>
        <a:dk2>
          <a:srgbClr val="5F8656"/>
        </a:dk2>
        <a:lt2>
          <a:srgbClr val="D6D8C0"/>
        </a:lt2>
        <a:accent1>
          <a:srgbClr val="61733D"/>
        </a:accent1>
        <a:accent2>
          <a:srgbClr val="324A39"/>
        </a:accent2>
        <a:accent3>
          <a:srgbClr val="B6C3B4"/>
        </a:accent3>
        <a:accent4>
          <a:srgbClr val="DADADA"/>
        </a:accent4>
        <a:accent5>
          <a:srgbClr val="B7BCAF"/>
        </a:accent5>
        <a:accent6>
          <a:srgbClr val="2C4233"/>
        </a:accent6>
        <a:hlink>
          <a:srgbClr val="73D588"/>
        </a:hlink>
        <a:folHlink>
          <a:srgbClr val="6F99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6">
        <a:dk1>
          <a:srgbClr val="5B7B65"/>
        </a:dk1>
        <a:lt1>
          <a:srgbClr val="FFFFFF"/>
        </a:lt1>
        <a:dk2>
          <a:srgbClr val="9ABE9D"/>
        </a:dk2>
        <a:lt2>
          <a:srgbClr val="336600"/>
        </a:lt2>
        <a:accent1>
          <a:srgbClr val="00CC66"/>
        </a:accent1>
        <a:accent2>
          <a:srgbClr val="4E7050"/>
        </a:accent2>
        <a:accent3>
          <a:srgbClr val="CADBCC"/>
        </a:accent3>
        <a:accent4>
          <a:srgbClr val="DADADA"/>
        </a:accent4>
        <a:accent5>
          <a:srgbClr val="AAE2B8"/>
        </a:accent5>
        <a:accent6>
          <a:srgbClr val="466548"/>
        </a:accent6>
        <a:hlink>
          <a:srgbClr val="FFFFCC"/>
        </a:hlink>
        <a:folHlink>
          <a:srgbClr val="9CE8A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4C4E44"/>
        </a:dk1>
        <a:lt1>
          <a:srgbClr val="FFFFFF"/>
        </a:lt1>
        <a:dk2>
          <a:srgbClr val="686B5D"/>
        </a:dk2>
        <a:lt2>
          <a:srgbClr val="D6D5C6"/>
        </a:lt2>
        <a:accent1>
          <a:srgbClr val="898D79"/>
        </a:accent1>
        <a:accent2>
          <a:srgbClr val="4D4F45"/>
        </a:accent2>
        <a:accent3>
          <a:srgbClr val="B9BAB6"/>
        </a:accent3>
        <a:accent4>
          <a:srgbClr val="DADADA"/>
        </a:accent4>
        <a:accent5>
          <a:srgbClr val="C4C5BE"/>
        </a:accent5>
        <a:accent6>
          <a:srgbClr val="45473E"/>
        </a:accent6>
        <a:hlink>
          <a:srgbClr val="58BE67"/>
        </a:hlink>
        <a:folHlink>
          <a:srgbClr val="C0C64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0000"/>
        </a:dk1>
        <a:lt1>
          <a:srgbClr val="FFFFDD"/>
        </a:lt1>
        <a:dk2>
          <a:srgbClr val="000000"/>
        </a:dk2>
        <a:lt2>
          <a:srgbClr val="98977A"/>
        </a:lt2>
        <a:accent1>
          <a:srgbClr val="BDCDA7"/>
        </a:accent1>
        <a:accent2>
          <a:srgbClr val="A0D060"/>
        </a:accent2>
        <a:accent3>
          <a:srgbClr val="FFFFEB"/>
        </a:accent3>
        <a:accent4>
          <a:srgbClr val="000000"/>
        </a:accent4>
        <a:accent5>
          <a:srgbClr val="DBE3D0"/>
        </a:accent5>
        <a:accent6>
          <a:srgbClr val="91BC56"/>
        </a:accent6>
        <a:hlink>
          <a:srgbClr val="FADD4E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ction Plan CCC Membership.pptx" id="{7F39D3E0-9E8B-4D3E-A635-82B8F4AEBC7D}" vid="{260F6B65-AEF4-4D63-8B9B-3E003CB9992C}"/>
    </a:ext>
  </a:extLst>
</a:theme>
</file>

<file path=ppt/theme/theme54.xml><?xml version="1.0" encoding="utf-8"?>
<a:theme xmlns:a="http://schemas.openxmlformats.org/drawingml/2006/main" name="4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5.xml><?xml version="1.0" encoding="utf-8"?>
<a:theme xmlns:a="http://schemas.openxmlformats.org/drawingml/2006/main" name="2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1_RTCA Theme">
  <a:themeElements>
    <a:clrScheme name="Globe 3">
      <a:dk1>
        <a:srgbClr val="003B76"/>
      </a:dk1>
      <a:lt1>
        <a:srgbClr val="FFFFFF"/>
      </a:lt1>
      <a:dk2>
        <a:srgbClr val="0066CC"/>
      </a:dk2>
      <a:lt2>
        <a:srgbClr val="CCECFF"/>
      </a:lt2>
      <a:accent1>
        <a:srgbClr val="33CCCC"/>
      </a:accent1>
      <a:accent2>
        <a:srgbClr val="66CCFF"/>
      </a:accent2>
      <a:accent3>
        <a:srgbClr val="AAB8E2"/>
      </a:accent3>
      <a:accent4>
        <a:srgbClr val="DADADA"/>
      </a:accent4>
      <a:accent5>
        <a:srgbClr val="ADE2E2"/>
      </a:accent5>
      <a:accent6>
        <a:srgbClr val="5CB9E7"/>
      </a:accent6>
      <a:hlink>
        <a:srgbClr val="FFFFCC"/>
      </a:hlink>
      <a:folHlink>
        <a:srgbClr val="FFCC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lobe 1">
        <a:dk1>
          <a:srgbClr val="622100"/>
        </a:dk1>
        <a:lt1>
          <a:srgbClr val="FFFFFF"/>
        </a:lt1>
        <a:dk2>
          <a:srgbClr val="800000"/>
        </a:dk2>
        <a:lt2>
          <a:srgbClr val="FFFFCC"/>
        </a:lt2>
        <a:accent1>
          <a:srgbClr val="E42B00"/>
        </a:accent1>
        <a:accent2>
          <a:srgbClr val="996600"/>
        </a:accent2>
        <a:accent3>
          <a:srgbClr val="C0AAAA"/>
        </a:accent3>
        <a:accent4>
          <a:srgbClr val="DADADA"/>
        </a:accent4>
        <a:accent5>
          <a:srgbClr val="EFACAA"/>
        </a:accent5>
        <a:accent6>
          <a:srgbClr val="8A5C00"/>
        </a:accent6>
        <a:hlink>
          <a:srgbClr val="FADF6C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2">
        <a:dk1>
          <a:srgbClr val="5F4545"/>
        </a:dk1>
        <a:lt1>
          <a:srgbClr val="FFFFFF"/>
        </a:lt1>
        <a:dk2>
          <a:srgbClr val="8F6969"/>
        </a:dk2>
        <a:lt2>
          <a:srgbClr val="FFFFCC"/>
        </a:lt2>
        <a:accent1>
          <a:srgbClr val="CC6600"/>
        </a:accent1>
        <a:accent2>
          <a:srgbClr val="924C0C"/>
        </a:accent2>
        <a:accent3>
          <a:srgbClr val="C6B9B9"/>
        </a:accent3>
        <a:accent4>
          <a:srgbClr val="DADADA"/>
        </a:accent4>
        <a:accent5>
          <a:srgbClr val="E2B8AA"/>
        </a:accent5>
        <a:accent6>
          <a:srgbClr val="84440A"/>
        </a:accent6>
        <a:hlink>
          <a:srgbClr val="CFD375"/>
        </a:hlink>
        <a:folHlink>
          <a:srgbClr val="98BB9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3">
        <a:dk1>
          <a:srgbClr val="003B76"/>
        </a:dk1>
        <a:lt1>
          <a:srgbClr val="FFFFFF"/>
        </a:lt1>
        <a:dk2>
          <a:srgbClr val="0066CC"/>
        </a:dk2>
        <a:lt2>
          <a:srgbClr val="CCECFF"/>
        </a:lt2>
        <a:accent1>
          <a:srgbClr val="33CCCC"/>
        </a:accent1>
        <a:accent2>
          <a:srgbClr val="66CCFF"/>
        </a:accent2>
        <a:accent3>
          <a:srgbClr val="AAB8E2"/>
        </a:accent3>
        <a:accent4>
          <a:srgbClr val="DADADA"/>
        </a:accent4>
        <a:accent5>
          <a:srgbClr val="ADE2E2"/>
        </a:accent5>
        <a:accent6>
          <a:srgbClr val="5CB9E7"/>
        </a:accent6>
        <a:hlink>
          <a:srgbClr val="FFFFCC"/>
        </a:hlink>
        <a:folHlink>
          <a:srgbClr val="FF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4">
        <a:dk1>
          <a:srgbClr val="005856"/>
        </a:dk1>
        <a:lt1>
          <a:srgbClr val="FFFFFF"/>
        </a:lt1>
        <a:dk2>
          <a:srgbClr val="008080"/>
        </a:dk2>
        <a:lt2>
          <a:srgbClr val="FFFFCC"/>
        </a:lt2>
        <a:accent1>
          <a:srgbClr val="0099CC"/>
        </a:accent1>
        <a:accent2>
          <a:srgbClr val="00CCFF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B9E7"/>
        </a:accent6>
        <a:hlink>
          <a:srgbClr val="1ACE9F"/>
        </a:hlink>
        <a:folHlink>
          <a:srgbClr val="948CC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5">
        <a:dk1>
          <a:srgbClr val="3C5436"/>
        </a:dk1>
        <a:lt1>
          <a:srgbClr val="FFFFFF"/>
        </a:lt1>
        <a:dk2>
          <a:srgbClr val="5F8656"/>
        </a:dk2>
        <a:lt2>
          <a:srgbClr val="D6D8C0"/>
        </a:lt2>
        <a:accent1>
          <a:srgbClr val="61733D"/>
        </a:accent1>
        <a:accent2>
          <a:srgbClr val="324A39"/>
        </a:accent2>
        <a:accent3>
          <a:srgbClr val="B6C3B4"/>
        </a:accent3>
        <a:accent4>
          <a:srgbClr val="DADADA"/>
        </a:accent4>
        <a:accent5>
          <a:srgbClr val="B7BCAF"/>
        </a:accent5>
        <a:accent6>
          <a:srgbClr val="2C4233"/>
        </a:accent6>
        <a:hlink>
          <a:srgbClr val="73D588"/>
        </a:hlink>
        <a:folHlink>
          <a:srgbClr val="6F99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6">
        <a:dk1>
          <a:srgbClr val="5B7B65"/>
        </a:dk1>
        <a:lt1>
          <a:srgbClr val="FFFFFF"/>
        </a:lt1>
        <a:dk2>
          <a:srgbClr val="9ABE9D"/>
        </a:dk2>
        <a:lt2>
          <a:srgbClr val="336600"/>
        </a:lt2>
        <a:accent1>
          <a:srgbClr val="00CC66"/>
        </a:accent1>
        <a:accent2>
          <a:srgbClr val="4E7050"/>
        </a:accent2>
        <a:accent3>
          <a:srgbClr val="CADBCC"/>
        </a:accent3>
        <a:accent4>
          <a:srgbClr val="DADADA"/>
        </a:accent4>
        <a:accent5>
          <a:srgbClr val="AAE2B8"/>
        </a:accent5>
        <a:accent6>
          <a:srgbClr val="466548"/>
        </a:accent6>
        <a:hlink>
          <a:srgbClr val="FFFFCC"/>
        </a:hlink>
        <a:folHlink>
          <a:srgbClr val="9CE8A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7">
        <a:dk1>
          <a:srgbClr val="4C4E44"/>
        </a:dk1>
        <a:lt1>
          <a:srgbClr val="FFFFFF"/>
        </a:lt1>
        <a:dk2>
          <a:srgbClr val="686B5D"/>
        </a:dk2>
        <a:lt2>
          <a:srgbClr val="D6D5C6"/>
        </a:lt2>
        <a:accent1>
          <a:srgbClr val="898D79"/>
        </a:accent1>
        <a:accent2>
          <a:srgbClr val="4D4F45"/>
        </a:accent2>
        <a:accent3>
          <a:srgbClr val="B9BAB6"/>
        </a:accent3>
        <a:accent4>
          <a:srgbClr val="DADADA"/>
        </a:accent4>
        <a:accent5>
          <a:srgbClr val="C4C5BE"/>
        </a:accent5>
        <a:accent6>
          <a:srgbClr val="45473E"/>
        </a:accent6>
        <a:hlink>
          <a:srgbClr val="58BE67"/>
        </a:hlink>
        <a:folHlink>
          <a:srgbClr val="C0C64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lobe 8">
        <a:dk1>
          <a:srgbClr val="000000"/>
        </a:dk1>
        <a:lt1>
          <a:srgbClr val="FFFFDD"/>
        </a:lt1>
        <a:dk2>
          <a:srgbClr val="000000"/>
        </a:dk2>
        <a:lt2>
          <a:srgbClr val="98977A"/>
        </a:lt2>
        <a:accent1>
          <a:srgbClr val="BDCDA7"/>
        </a:accent1>
        <a:accent2>
          <a:srgbClr val="A0D060"/>
        </a:accent2>
        <a:accent3>
          <a:srgbClr val="FFFFEB"/>
        </a:accent3>
        <a:accent4>
          <a:srgbClr val="000000"/>
        </a:accent4>
        <a:accent5>
          <a:srgbClr val="DBE3D0"/>
        </a:accent5>
        <a:accent6>
          <a:srgbClr val="91BC56"/>
        </a:accent6>
        <a:hlink>
          <a:srgbClr val="FADD4E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ction Plan CCC Membership.pptx" id="{7F39D3E0-9E8B-4D3E-A635-82B8F4AEBC7D}" vid="{260F6B65-AEF4-4D63-8B9B-3E003CB9992C}"/>
    </a:ext>
  </a:extLst>
</a:theme>
</file>

<file path=ppt/theme/theme57.xml><?xml version="1.0" encoding="utf-8"?>
<a:theme xmlns:a="http://schemas.openxmlformats.org/drawingml/2006/main" name="21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>
        <a:spAutoFit/>
      </a:bodyPr>
      <a:lstStyle>
        <a:defPPr>
          <a:buFontTx/>
          <a:buNone/>
          <a:defRPr sz="1200" b="1" dirty="0">
            <a:solidFill>
              <a:srgbClr val="C0C0C0"/>
            </a:solidFill>
          </a:defRPr>
        </a:defPPr>
      </a:lstStyle>
    </a:tx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8.xml><?xml version="1.0" encoding="utf-8"?>
<a:theme xmlns:a="http://schemas.openxmlformats.org/drawingml/2006/main" name="7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1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1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65" charset="0"/>
          </a:defRPr>
        </a:defPPr>
      </a:lst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629</TotalTime>
  <Words>226</Words>
  <Application>Microsoft Office PowerPoint</Application>
  <PresentationFormat>On-screen Show (4:3)</PresentationFormat>
  <Paragraphs>56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83" baseType="lpstr">
      <vt:lpstr>ＭＳ Ｐゴシック</vt:lpstr>
      <vt:lpstr>Arial</vt:lpstr>
      <vt:lpstr>Calibri</vt:lpstr>
      <vt:lpstr>Courier New</vt:lpstr>
      <vt:lpstr>Helvetica Neue Medium</vt:lpstr>
      <vt:lpstr>Monotype Sorts</vt:lpstr>
      <vt:lpstr>Myriad Pro</vt:lpstr>
      <vt:lpstr>Tahoma</vt:lpstr>
      <vt:lpstr>Times New Roman</vt:lpstr>
      <vt:lpstr>Wingdings</vt:lpstr>
      <vt:lpstr>RTCA 4-3 New Master</vt:lpstr>
      <vt:lpstr>Custom Design</vt:lpstr>
      <vt:lpstr>2_Custom Design</vt:lpstr>
      <vt:lpstr>1_Custom Design</vt:lpstr>
      <vt:lpstr>3_Custom Design</vt:lpstr>
      <vt:lpstr>Default Design</vt:lpstr>
      <vt:lpstr>4_Custom Design</vt:lpstr>
      <vt:lpstr>5_Custom Design</vt:lpstr>
      <vt:lpstr>6_Custom Design</vt:lpstr>
      <vt:lpstr>7_Custom Design</vt:lpstr>
      <vt:lpstr>1_Default Design</vt:lpstr>
      <vt:lpstr>8_Custom Design</vt:lpstr>
      <vt:lpstr>9_Custom Design</vt:lpstr>
      <vt:lpstr>4_Office Theme</vt:lpstr>
      <vt:lpstr>New - US Airways</vt:lpstr>
      <vt:lpstr>CCAT_2003ppt 2009_ PresentationV1</vt:lpstr>
      <vt:lpstr>10_Custom Design</vt:lpstr>
      <vt:lpstr>11_Custom Design</vt:lpstr>
      <vt:lpstr>1_BOT February 2009</vt:lpstr>
      <vt:lpstr>25_Office Theme</vt:lpstr>
      <vt:lpstr>26_Office Theme</vt:lpstr>
      <vt:lpstr>Theme1</vt:lpstr>
      <vt:lpstr>1_Theme1</vt:lpstr>
      <vt:lpstr>2_Office Theme</vt:lpstr>
      <vt:lpstr>2_Theme1</vt:lpstr>
      <vt:lpstr>12_Custom Design</vt:lpstr>
      <vt:lpstr>13_Custom Design</vt:lpstr>
      <vt:lpstr>1_2 line title master</vt:lpstr>
      <vt:lpstr>5_Office Theme</vt:lpstr>
      <vt:lpstr>22_Office Theme</vt:lpstr>
      <vt:lpstr>3_FAA NextGen - 2011</vt:lpstr>
      <vt:lpstr>15_Custom Design</vt:lpstr>
      <vt:lpstr>17_Custom Design</vt:lpstr>
      <vt:lpstr>18_Custom Design</vt:lpstr>
      <vt:lpstr>2_RTCA PPT Theme</vt:lpstr>
      <vt:lpstr>23_Office Theme</vt:lpstr>
      <vt:lpstr>32_Office Theme</vt:lpstr>
      <vt:lpstr>5_FAA NextGen - 2011</vt:lpstr>
      <vt:lpstr>41_Office Theme</vt:lpstr>
      <vt:lpstr>14_Custom Design</vt:lpstr>
      <vt:lpstr>16_Custom Design</vt:lpstr>
      <vt:lpstr>19_Custom Design</vt:lpstr>
      <vt:lpstr>Office Theme</vt:lpstr>
      <vt:lpstr>3_Theme1</vt:lpstr>
      <vt:lpstr>5_Theme1</vt:lpstr>
      <vt:lpstr>1_Office Theme</vt:lpstr>
      <vt:lpstr>7_Office Theme</vt:lpstr>
      <vt:lpstr>5_RTCA PPT Theme</vt:lpstr>
      <vt:lpstr>6_Theme1</vt:lpstr>
      <vt:lpstr>79_United_CF_ULA086</vt:lpstr>
      <vt:lpstr>28_Custom Design</vt:lpstr>
      <vt:lpstr>29_Custom Design</vt:lpstr>
      <vt:lpstr>RTCA Theme</vt:lpstr>
      <vt:lpstr>4_Theme1</vt:lpstr>
      <vt:lpstr>20_Custom Design</vt:lpstr>
      <vt:lpstr>1_RTCA Theme</vt:lpstr>
      <vt:lpstr>21_Custom Design</vt:lpstr>
      <vt:lpstr>7_Theme1</vt:lpstr>
      <vt:lpstr>think-cell Slide</vt:lpstr>
      <vt:lpstr>Welcome to the Meeting of the  Drone Advisory Committee   </vt:lpstr>
      <vt:lpstr>Official Statement of the Designated Federal Officer</vt:lpstr>
      <vt:lpstr>PUBLIC MEETING ANNOUNCEMENT  Read by: Designated Federal Officer Dan Elwell Drone Advisory Committee  July 21, 2017</vt:lpstr>
      <vt:lpstr>DAC Agenda Topics</vt:lpstr>
      <vt:lpstr>Welcome and Introductions   Opening Remarks  </vt:lpstr>
      <vt:lpstr>Review and Approval of:  Minutes – May 3, 2017   </vt:lpstr>
      <vt:lpstr>Report out of DACSC TG3  (UAS Funding)</vt:lpstr>
      <vt:lpstr>Discussion of TG3 Report</vt:lpstr>
      <vt:lpstr>Status Report of DACSC TG1  (Roles and Responsibilities) </vt:lpstr>
      <vt:lpstr>Discussion of TG1 Status Report</vt:lpstr>
      <vt:lpstr>  Closing Remarks  </vt:lpstr>
      <vt:lpstr>Summary of Meeting and Next Steps    </vt:lpstr>
      <vt:lpstr>Concluding Items</vt:lpstr>
      <vt:lpstr> Adjourn</vt:lpstr>
    </vt:vector>
  </TitlesOfParts>
  <Company>RTCA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xtGen Advisory Committee (NAC) Subcommittee Meeting</dc:title>
  <dc:creator>Cyndy Brown</dc:creator>
  <cp:lastModifiedBy>Claudia Chaudhari</cp:lastModifiedBy>
  <cp:revision>2341</cp:revision>
  <cp:lastPrinted>2017-07-14T13:27:11Z</cp:lastPrinted>
  <dcterms:created xsi:type="dcterms:W3CDTF">2009-08-20T02:31:03Z</dcterms:created>
  <dcterms:modified xsi:type="dcterms:W3CDTF">2017-07-21T16:09:22Z</dcterms:modified>
</cp:coreProperties>
</file>